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2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796" r:id="rId4"/>
    <p:sldMasterId id="2147483746" r:id="rId5"/>
    <p:sldMasterId id="2147483660" r:id="rId6"/>
    <p:sldMasterId id="2147483824" r:id="rId7"/>
  </p:sldMasterIdLst>
  <p:notesMasterIdLst>
    <p:notesMasterId r:id="rId16"/>
  </p:notesMasterIdLst>
  <p:sldIdLst>
    <p:sldId id="2147477007" r:id="rId8"/>
    <p:sldId id="2147477004" r:id="rId9"/>
    <p:sldId id="2147477001" r:id="rId10"/>
    <p:sldId id="2147477008" r:id="rId11"/>
    <p:sldId id="2147477003" r:id="rId12"/>
    <p:sldId id="2147477009" r:id="rId13"/>
    <p:sldId id="2147477006" r:id="rId14"/>
    <p:sldId id="2147477005" r:id="rId15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pos="3768" userDrawn="1">
          <p15:clr>
            <a:srgbClr val="A4A3A4"/>
          </p15:clr>
        </p15:guide>
        <p15:guide id="5" pos="391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C7D922E-2019-E884-8593-FF775AA2102F}" name="Bernat-Riddle, Kyle" initials="KB" userId="S::916637@corpaa.aa.com::d68d9de8-5788-41f8-aeeb-47f3fe184b15" providerId="AD"/>
  <p188:author id="{9277704D-540E-2FEF-6BA3-62B8529616AA}" name="Pack, Jordan" initials="PJ" userId="S::099622@corpaa.aa.com::74d2f64f-56f6-4d50-919e-ea08af29d790" providerId="AD"/>
  <p188:author id="{F297ED84-3C31-DB59-9D08-F2D4A01BC3A2}" name="Neronha, Joshua" initials="JN" userId="S::239487@corpaa.aa.com::faf1bf2a-d7ef-4435-b731-16f19eb2c8c0" providerId="AD"/>
  <p188:author id="{872C1EBA-4D33-E6B3-F64A-61F0E3805760}" name="Barfoot, Lindsey" initials="BL" userId="S::581475@corpaa.aa.com::8249d834-e566-408c-982c-e144c9f4205b" providerId="AD"/>
  <p188:author id="{4856ECBA-D890-D040-288E-2870E1BF1274}" name="Plourde, Owen" initials="OP" userId="S::865492@corpaa.aa.com::d974d2ac-40d3-4d74-bb75-f0c1dc327b4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sek, Joe" initials="PJ" lastIdx="1" clrIdx="0">
    <p:extLst>
      <p:ext uri="{19B8F6BF-5375-455C-9EA6-DF929625EA0E}">
        <p15:presenceInfo xmlns:p15="http://schemas.microsoft.com/office/powerpoint/2012/main" userId="S::276252@corpaa.aa.com::a4ebeabf-a5aa-4aa1-bdc7-d9353925625b" providerId="AD"/>
      </p:ext>
    </p:extLst>
  </p:cmAuthor>
  <p:cmAuthor id="2" name="Kramer, Kevin" initials="KK" lastIdx="4" clrIdx="1">
    <p:extLst>
      <p:ext uri="{19B8F6BF-5375-455C-9EA6-DF929625EA0E}">
        <p15:presenceInfo xmlns:p15="http://schemas.microsoft.com/office/powerpoint/2012/main" userId="S::537631@corpaa.aa.com::5698e7a9-372d-4a84-833b-314cd4e1979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000000"/>
    <a:srgbClr val="9DA6AA"/>
    <a:srgbClr val="CEFED3"/>
    <a:srgbClr val="A1E294"/>
    <a:srgbClr val="3A4D66"/>
    <a:srgbClr val="0061AB"/>
    <a:srgbClr val="C20018"/>
    <a:srgbClr val="415763"/>
    <a:srgbClr val="0045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6918041-E131-4D75-BBEB-BCDA3AD3EB25}" v="101" dt="2025-11-13T11:17:57.9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56" y="204"/>
      </p:cViewPr>
      <p:guideLst>
        <p:guide pos="3840"/>
        <p:guide orient="horz" pos="2160"/>
        <p:guide pos="3768"/>
        <p:guide pos="391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lliams, John B" userId="413f3051-182a-414d-a45f-e2a4dafb8cb2" providerId="ADAL" clId="{BE9C2341-F138-4D05-9E6B-1E4E157EB01B}"/>
    <pc:docChg chg="undo custSel addSld delSld modSld sldOrd">
      <pc:chgData name="Williams, John B" userId="413f3051-182a-414d-a45f-e2a4dafb8cb2" providerId="ADAL" clId="{BE9C2341-F138-4D05-9E6B-1E4E157EB01B}" dt="2025-11-10T10:47:13.024" v="2112" actId="1036"/>
      <pc:docMkLst>
        <pc:docMk/>
      </pc:docMkLst>
      <pc:sldChg chg="addSp delSp modSp mod">
        <pc:chgData name="Williams, John B" userId="413f3051-182a-414d-a45f-e2a4dafb8cb2" providerId="ADAL" clId="{BE9C2341-F138-4D05-9E6B-1E4E157EB01B}" dt="2025-11-10T10:47:13.024" v="2112" actId="1036"/>
        <pc:sldMkLst>
          <pc:docMk/>
          <pc:sldMk cId="105648707" sldId="2147476979"/>
        </pc:sldMkLst>
      </pc:sldChg>
      <pc:sldChg chg="addSp delSp modSp mod">
        <pc:chgData name="Williams, John B" userId="413f3051-182a-414d-a45f-e2a4dafb8cb2" providerId="ADAL" clId="{BE9C2341-F138-4D05-9E6B-1E4E157EB01B}" dt="2025-11-10T10:43:44.296" v="1888" actId="1036"/>
        <pc:sldMkLst>
          <pc:docMk/>
          <pc:sldMk cId="1980354729" sldId="2147477001"/>
        </pc:sldMkLst>
        <pc:spChg chg="mod">
          <ac:chgData name="Williams, John B" userId="413f3051-182a-414d-a45f-e2a4dafb8cb2" providerId="ADAL" clId="{BE9C2341-F138-4D05-9E6B-1E4E157EB01B}" dt="2025-11-10T10:25:55.851" v="1634" actId="1036"/>
          <ac:spMkLst>
            <pc:docMk/>
            <pc:sldMk cId="1980354729" sldId="2147477001"/>
            <ac:spMk id="2" creationId="{458D2574-8646-122F-B3BC-949FA2D44A02}"/>
          </ac:spMkLst>
        </pc:spChg>
        <pc:spChg chg="mod">
          <ac:chgData name="Williams, John B" userId="413f3051-182a-414d-a45f-e2a4dafb8cb2" providerId="ADAL" clId="{BE9C2341-F138-4D05-9E6B-1E4E157EB01B}" dt="2025-11-10T10:43:44.296" v="1888" actId="1036"/>
          <ac:spMkLst>
            <pc:docMk/>
            <pc:sldMk cId="1980354729" sldId="2147477001"/>
            <ac:spMk id="6" creationId="{CD8E234C-377C-FF8B-7021-83E63FE39F0B}"/>
          </ac:spMkLst>
        </pc:spChg>
      </pc:sldChg>
      <pc:sldChg chg="addSp delSp modSp mod">
        <pc:chgData name="Williams, John B" userId="413f3051-182a-414d-a45f-e2a4dafb8cb2" providerId="ADAL" clId="{BE9C2341-F138-4D05-9E6B-1E4E157EB01B}" dt="2025-11-10T10:40:46.772" v="1776" actId="1076"/>
        <pc:sldMkLst>
          <pc:docMk/>
          <pc:sldMk cId="3786818731" sldId="2147477003"/>
        </pc:sldMkLst>
        <pc:picChg chg="add mod">
          <ac:chgData name="Williams, John B" userId="413f3051-182a-414d-a45f-e2a4dafb8cb2" providerId="ADAL" clId="{BE9C2341-F138-4D05-9E6B-1E4E157EB01B}" dt="2025-11-10T10:31:58.555" v="1740" actId="1076"/>
          <ac:picMkLst>
            <pc:docMk/>
            <pc:sldMk cId="3786818731" sldId="2147477003"/>
            <ac:picMk id="4" creationId="{AC52DF7B-506D-BF44-A36B-418A2C8F6B7D}"/>
          </ac:picMkLst>
        </pc:picChg>
      </pc:sldChg>
      <pc:sldChg chg="modSp add mod ord">
        <pc:chgData name="Williams, John B" userId="413f3051-182a-414d-a45f-e2a4dafb8cb2" providerId="ADAL" clId="{BE9C2341-F138-4D05-9E6B-1E4E157EB01B}" dt="2025-11-10T10:43:26.012" v="1875" actId="12"/>
        <pc:sldMkLst>
          <pc:docMk/>
          <pc:sldMk cId="873697851" sldId="2147477004"/>
        </pc:sldMkLst>
        <pc:spChg chg="mod">
          <ac:chgData name="Williams, John B" userId="413f3051-182a-414d-a45f-e2a4dafb8cb2" providerId="ADAL" clId="{BE9C2341-F138-4D05-9E6B-1E4E157EB01B}" dt="2025-11-10T10:12:11.763" v="611" actId="20577"/>
          <ac:spMkLst>
            <pc:docMk/>
            <pc:sldMk cId="873697851" sldId="2147477004"/>
            <ac:spMk id="2" creationId="{A7ADB33B-8413-B02B-03A1-23C0DB0151E6}"/>
          </ac:spMkLst>
        </pc:spChg>
        <pc:spChg chg="mod">
          <ac:chgData name="Williams, John B" userId="413f3051-182a-414d-a45f-e2a4dafb8cb2" providerId="ADAL" clId="{BE9C2341-F138-4D05-9E6B-1E4E157EB01B}" dt="2025-11-10T10:43:26.012" v="1875" actId="12"/>
          <ac:spMkLst>
            <pc:docMk/>
            <pc:sldMk cId="873697851" sldId="2147477004"/>
            <ac:spMk id="6" creationId="{FF257042-D213-6272-74D8-4FD9F13A1FFD}"/>
          </ac:spMkLst>
        </pc:spChg>
      </pc:sldChg>
      <pc:sldChg chg="delSp del mod ord">
        <pc:chgData name="Williams, John B" userId="413f3051-182a-414d-a45f-e2a4dafb8cb2" providerId="ADAL" clId="{BE9C2341-F138-4D05-9E6B-1E4E157EB01B}" dt="2025-11-10T10:11:34.130" v="500" actId="47"/>
        <pc:sldMkLst>
          <pc:docMk/>
          <pc:sldMk cId="3532099649" sldId="2147477005"/>
        </pc:sldMkLst>
      </pc:sldChg>
      <pc:sldChg chg="addSp delSp modSp new mod ord">
        <pc:chgData name="Williams, John B" userId="413f3051-182a-414d-a45f-e2a4dafb8cb2" providerId="ADAL" clId="{BE9C2341-F138-4D05-9E6B-1E4E157EB01B}" dt="2025-11-10T10:45:25.054" v="1928" actId="478"/>
        <pc:sldMkLst>
          <pc:docMk/>
          <pc:sldMk cId="4075655117" sldId="2147477005"/>
        </pc:sldMkLst>
        <pc:spChg chg="mod">
          <ac:chgData name="Williams, John B" userId="413f3051-182a-414d-a45f-e2a4dafb8cb2" providerId="ADAL" clId="{BE9C2341-F138-4D05-9E6B-1E4E157EB01B}" dt="2025-11-10T10:44:31.447" v="1926" actId="20577"/>
          <ac:spMkLst>
            <pc:docMk/>
            <pc:sldMk cId="4075655117" sldId="2147477005"/>
            <ac:spMk id="2" creationId="{9CAC69FC-3196-31EC-697C-F61404E90CF0}"/>
          </ac:spMkLst>
        </pc:spChg>
      </pc:sldChg>
    </pc:docChg>
  </pc:docChgLst>
  <pc:docChgLst>
    <pc:chgData name="Almond, Ronce" userId="4da4521a-95fc-455b-94df-d9f5d38927d7" providerId="ADAL" clId="{36918041-E131-4D75-BBEB-BCDA3AD3EB25}"/>
    <pc:docChg chg="undo redo custSel addSld delSld modSld modMainMaster">
      <pc:chgData name="Almond, Ronce" userId="4da4521a-95fc-455b-94df-d9f5d38927d7" providerId="ADAL" clId="{36918041-E131-4D75-BBEB-BCDA3AD3EB25}" dt="2025-11-13T11:21:48.775" v="1186" actId="1076"/>
      <pc:docMkLst>
        <pc:docMk/>
      </pc:docMkLst>
      <pc:sldChg chg="modSp del mod">
        <pc:chgData name="Almond, Ronce" userId="4da4521a-95fc-455b-94df-d9f5d38927d7" providerId="ADAL" clId="{36918041-E131-4D75-BBEB-BCDA3AD3EB25}" dt="2025-11-12T19:31:25.783" v="461" actId="47"/>
        <pc:sldMkLst>
          <pc:docMk/>
          <pc:sldMk cId="105648707" sldId="2147476979"/>
        </pc:sldMkLst>
        <pc:spChg chg="mod">
          <ac:chgData name="Almond, Ronce" userId="4da4521a-95fc-455b-94df-d9f5d38927d7" providerId="ADAL" clId="{36918041-E131-4D75-BBEB-BCDA3AD3EB25}" dt="2025-11-12T19:30:09.628" v="451" actId="20577"/>
          <ac:spMkLst>
            <pc:docMk/>
            <pc:sldMk cId="105648707" sldId="2147476979"/>
            <ac:spMk id="2" creationId="{D3588519-333D-D48F-D7E2-C47A563EB968}"/>
          </ac:spMkLst>
        </pc:spChg>
      </pc:sldChg>
      <pc:sldChg chg="addSp delSp modSp mod">
        <pc:chgData name="Almond, Ronce" userId="4da4521a-95fc-455b-94df-d9f5d38927d7" providerId="ADAL" clId="{36918041-E131-4D75-BBEB-BCDA3AD3EB25}" dt="2025-11-13T02:02:40.144" v="1073" actId="20577"/>
        <pc:sldMkLst>
          <pc:docMk/>
          <pc:sldMk cId="1980354729" sldId="2147477001"/>
        </pc:sldMkLst>
        <pc:spChg chg="mod">
          <ac:chgData name="Almond, Ronce" userId="4da4521a-95fc-455b-94df-d9f5d38927d7" providerId="ADAL" clId="{36918041-E131-4D75-BBEB-BCDA3AD3EB25}" dt="2025-11-13T02:02:40.144" v="1073" actId="20577"/>
          <ac:spMkLst>
            <pc:docMk/>
            <pc:sldMk cId="1980354729" sldId="2147477001"/>
            <ac:spMk id="2" creationId="{458D2574-8646-122F-B3BC-949FA2D44A02}"/>
          </ac:spMkLst>
        </pc:spChg>
        <pc:spChg chg="mod">
          <ac:chgData name="Almond, Ronce" userId="4da4521a-95fc-455b-94df-d9f5d38927d7" providerId="ADAL" clId="{36918041-E131-4D75-BBEB-BCDA3AD3EB25}" dt="2025-11-13T01:42:25.007" v="978" actId="1076"/>
          <ac:spMkLst>
            <pc:docMk/>
            <pc:sldMk cId="1980354729" sldId="2147477001"/>
            <ac:spMk id="6" creationId="{CD8E234C-377C-FF8B-7021-83E63FE39F0B}"/>
          </ac:spMkLst>
        </pc:spChg>
        <pc:picChg chg="del mod">
          <ac:chgData name="Almond, Ronce" userId="4da4521a-95fc-455b-94df-d9f5d38927d7" providerId="ADAL" clId="{36918041-E131-4D75-BBEB-BCDA3AD3EB25}" dt="2025-11-13T01:50:27.094" v="989" actId="478"/>
          <ac:picMkLst>
            <pc:docMk/>
            <pc:sldMk cId="1980354729" sldId="2147477001"/>
            <ac:picMk id="5" creationId="{04D65E85-F446-D006-F6C6-FD0F7059A88C}"/>
          </ac:picMkLst>
        </pc:picChg>
        <pc:picChg chg="add mod">
          <ac:chgData name="Almond, Ronce" userId="4da4521a-95fc-455b-94df-d9f5d38927d7" providerId="ADAL" clId="{36918041-E131-4D75-BBEB-BCDA3AD3EB25}" dt="2025-11-13T01:52:08.223" v="1015" actId="1076"/>
          <ac:picMkLst>
            <pc:docMk/>
            <pc:sldMk cId="1980354729" sldId="2147477001"/>
            <ac:picMk id="2050" creationId="{EE6AECF1-4B80-9FE9-1641-7232DFE5F1C1}"/>
          </ac:picMkLst>
        </pc:picChg>
      </pc:sldChg>
      <pc:sldChg chg="addSp delSp modSp mod">
        <pc:chgData name="Almond, Ronce" userId="4da4521a-95fc-455b-94df-d9f5d38927d7" providerId="ADAL" clId="{36918041-E131-4D75-BBEB-BCDA3AD3EB25}" dt="2025-11-12T19:45:45.573" v="729" actId="5793"/>
        <pc:sldMkLst>
          <pc:docMk/>
          <pc:sldMk cId="3786818731" sldId="2147477003"/>
        </pc:sldMkLst>
        <pc:spChg chg="mod">
          <ac:chgData name="Almond, Ronce" userId="4da4521a-95fc-455b-94df-d9f5d38927d7" providerId="ADAL" clId="{36918041-E131-4D75-BBEB-BCDA3AD3EB25}" dt="2025-11-12T19:45:45.573" v="729" actId="5793"/>
          <ac:spMkLst>
            <pc:docMk/>
            <pc:sldMk cId="3786818731" sldId="2147477003"/>
            <ac:spMk id="2" creationId="{0C3C6D2D-791B-5E1E-1DD3-337A0A8035C3}"/>
          </ac:spMkLst>
        </pc:spChg>
        <pc:picChg chg="add mod ord">
          <ac:chgData name="Almond, Ronce" userId="4da4521a-95fc-455b-94df-d9f5d38927d7" providerId="ADAL" clId="{36918041-E131-4D75-BBEB-BCDA3AD3EB25}" dt="2025-11-12T19:43:19.593" v="611" actId="1076"/>
          <ac:picMkLst>
            <pc:docMk/>
            <pc:sldMk cId="3786818731" sldId="2147477003"/>
            <ac:picMk id="3" creationId="{AD4E2F8D-2667-EE1A-AC7A-0C1CDB168B24}"/>
          </ac:picMkLst>
        </pc:picChg>
        <pc:picChg chg="add del mod ord">
          <ac:chgData name="Almond, Ronce" userId="4da4521a-95fc-455b-94df-d9f5d38927d7" providerId="ADAL" clId="{36918041-E131-4D75-BBEB-BCDA3AD3EB25}" dt="2025-11-12T19:43:27.657" v="613" actId="14100"/>
          <ac:picMkLst>
            <pc:docMk/>
            <pc:sldMk cId="3786818731" sldId="2147477003"/>
            <ac:picMk id="4" creationId="{AC52DF7B-506D-BF44-A36B-418A2C8F6B7D}"/>
          </ac:picMkLst>
        </pc:picChg>
        <pc:picChg chg="add mod">
          <ac:chgData name="Almond, Ronce" userId="4da4521a-95fc-455b-94df-d9f5d38927d7" providerId="ADAL" clId="{36918041-E131-4D75-BBEB-BCDA3AD3EB25}" dt="2025-11-12T19:43:36.881" v="614" actId="1076"/>
          <ac:picMkLst>
            <pc:docMk/>
            <pc:sldMk cId="3786818731" sldId="2147477003"/>
            <ac:picMk id="5" creationId="{54C32CE6-9A68-7585-1E26-8B965EADC676}"/>
          </ac:picMkLst>
        </pc:picChg>
        <pc:picChg chg="add del mod">
          <ac:chgData name="Almond, Ronce" userId="4da4521a-95fc-455b-94df-d9f5d38927d7" providerId="ADAL" clId="{36918041-E131-4D75-BBEB-BCDA3AD3EB25}" dt="2025-11-12T19:06:51.320" v="327" actId="478"/>
          <ac:picMkLst>
            <pc:docMk/>
            <pc:sldMk cId="3786818731" sldId="2147477003"/>
            <ac:picMk id="7" creationId="{C5182C2D-6F21-132D-5269-4DB2D2F046C5}"/>
          </ac:picMkLst>
        </pc:picChg>
        <pc:picChg chg="add mod">
          <ac:chgData name="Almond, Ronce" userId="4da4521a-95fc-455b-94df-d9f5d38927d7" providerId="ADAL" clId="{36918041-E131-4D75-BBEB-BCDA3AD3EB25}" dt="2025-11-12T19:43:45.488" v="615" actId="1076"/>
          <ac:picMkLst>
            <pc:docMk/>
            <pc:sldMk cId="3786818731" sldId="2147477003"/>
            <ac:picMk id="9" creationId="{5452B56B-3D8B-79D9-71FF-C882D2245EC4}"/>
          </ac:picMkLst>
        </pc:picChg>
        <pc:picChg chg="add mod">
          <ac:chgData name="Almond, Ronce" userId="4da4521a-95fc-455b-94df-d9f5d38927d7" providerId="ADAL" clId="{36918041-E131-4D75-BBEB-BCDA3AD3EB25}" dt="2025-11-12T19:17:08.342" v="378" actId="1076"/>
          <ac:picMkLst>
            <pc:docMk/>
            <pc:sldMk cId="3786818731" sldId="2147477003"/>
            <ac:picMk id="11" creationId="{9A18ABEC-937D-1CFC-D6C1-8F98D308C39C}"/>
          </ac:picMkLst>
        </pc:picChg>
        <pc:picChg chg="add mod">
          <ac:chgData name="Almond, Ronce" userId="4da4521a-95fc-455b-94df-d9f5d38927d7" providerId="ADAL" clId="{36918041-E131-4D75-BBEB-BCDA3AD3EB25}" dt="2025-11-12T19:44:05.386" v="620" actId="207"/>
          <ac:picMkLst>
            <pc:docMk/>
            <pc:sldMk cId="3786818731" sldId="2147477003"/>
            <ac:picMk id="13" creationId="{4C2CE84D-7D6F-5466-00B3-D672F6C81C8E}"/>
          </ac:picMkLst>
        </pc:picChg>
        <pc:picChg chg="add del mod">
          <ac:chgData name="Almond, Ronce" userId="4da4521a-95fc-455b-94df-d9f5d38927d7" providerId="ADAL" clId="{36918041-E131-4D75-BBEB-BCDA3AD3EB25}" dt="2025-11-12T19:12:56.486" v="351" actId="478"/>
          <ac:picMkLst>
            <pc:docMk/>
            <pc:sldMk cId="3786818731" sldId="2147477003"/>
            <ac:picMk id="15" creationId="{A4DF50EF-6FDE-D008-E2BF-42976C3E7909}"/>
          </ac:picMkLst>
        </pc:picChg>
        <pc:picChg chg="add mod">
          <ac:chgData name="Almond, Ronce" userId="4da4521a-95fc-455b-94df-d9f5d38927d7" providerId="ADAL" clId="{36918041-E131-4D75-BBEB-BCDA3AD3EB25}" dt="2025-11-12T19:44:20.159" v="621" actId="1076"/>
          <ac:picMkLst>
            <pc:docMk/>
            <pc:sldMk cId="3786818731" sldId="2147477003"/>
            <ac:picMk id="17" creationId="{B2E7616B-1DE2-9FC9-EE1A-8F4AF95741BC}"/>
          </ac:picMkLst>
        </pc:picChg>
        <pc:picChg chg="add mod">
          <ac:chgData name="Almond, Ronce" userId="4da4521a-95fc-455b-94df-d9f5d38927d7" providerId="ADAL" clId="{36918041-E131-4D75-BBEB-BCDA3AD3EB25}" dt="2025-11-12T19:42:47.791" v="609" actId="1076"/>
          <ac:picMkLst>
            <pc:docMk/>
            <pc:sldMk cId="3786818731" sldId="2147477003"/>
            <ac:picMk id="19" creationId="{F8B0369B-0590-21AB-0840-8E4C22A5A6AE}"/>
          </ac:picMkLst>
        </pc:picChg>
        <pc:picChg chg="add del">
          <ac:chgData name="Almond, Ronce" userId="4da4521a-95fc-455b-94df-d9f5d38927d7" providerId="ADAL" clId="{36918041-E131-4D75-BBEB-BCDA3AD3EB25}" dt="2025-11-12T19:05:14.214" v="320" actId="478"/>
          <ac:picMkLst>
            <pc:docMk/>
            <pc:sldMk cId="3786818731" sldId="2147477003"/>
            <ac:picMk id="20" creationId="{26E37B09-4C91-C0E0-793E-ADA0FF8D8C55}"/>
          </ac:picMkLst>
        </pc:picChg>
        <pc:picChg chg="add del">
          <ac:chgData name="Almond, Ronce" userId="4da4521a-95fc-455b-94df-d9f5d38927d7" providerId="ADAL" clId="{36918041-E131-4D75-BBEB-BCDA3AD3EB25}" dt="2025-11-12T19:05:27.154" v="323" actId="478"/>
          <ac:picMkLst>
            <pc:docMk/>
            <pc:sldMk cId="3786818731" sldId="2147477003"/>
            <ac:picMk id="24" creationId="{A047BE95-290D-CB0E-77BF-36537E299735}"/>
          </ac:picMkLst>
        </pc:picChg>
      </pc:sldChg>
      <pc:sldChg chg="addSp modSp mod">
        <pc:chgData name="Almond, Ronce" userId="4da4521a-95fc-455b-94df-d9f5d38927d7" providerId="ADAL" clId="{36918041-E131-4D75-BBEB-BCDA3AD3EB25}" dt="2025-11-13T01:48:30.891" v="988" actId="1076"/>
        <pc:sldMkLst>
          <pc:docMk/>
          <pc:sldMk cId="873697851" sldId="2147477004"/>
        </pc:sldMkLst>
        <pc:spChg chg="mod">
          <ac:chgData name="Almond, Ronce" userId="4da4521a-95fc-455b-94df-d9f5d38927d7" providerId="ADAL" clId="{36918041-E131-4D75-BBEB-BCDA3AD3EB25}" dt="2025-11-13T01:48:02.292" v="983" actId="1076"/>
          <ac:spMkLst>
            <pc:docMk/>
            <pc:sldMk cId="873697851" sldId="2147477004"/>
            <ac:spMk id="6" creationId="{FF257042-D213-6272-74D8-4FD9F13A1FFD}"/>
          </ac:spMkLst>
        </pc:spChg>
        <pc:picChg chg="add mod">
          <ac:chgData name="Almond, Ronce" userId="4da4521a-95fc-455b-94df-d9f5d38927d7" providerId="ADAL" clId="{36918041-E131-4D75-BBEB-BCDA3AD3EB25}" dt="2025-11-13T01:48:30.891" v="988" actId="1076"/>
          <ac:picMkLst>
            <pc:docMk/>
            <pc:sldMk cId="873697851" sldId="2147477004"/>
            <ac:picMk id="1026" creationId="{6AB9333A-B1B7-6DE1-1190-68FB05AA949E}"/>
          </ac:picMkLst>
        </pc:picChg>
      </pc:sldChg>
      <pc:sldChg chg="modSp del mod">
        <pc:chgData name="Almond, Ronce" userId="4da4521a-95fc-455b-94df-d9f5d38927d7" providerId="ADAL" clId="{36918041-E131-4D75-BBEB-BCDA3AD3EB25}" dt="2025-11-12T19:32:03.601" v="475" actId="20577"/>
        <pc:sldMkLst>
          <pc:docMk/>
          <pc:sldMk cId="4075655117" sldId="2147477005"/>
        </pc:sldMkLst>
        <pc:spChg chg="mod">
          <ac:chgData name="Almond, Ronce" userId="4da4521a-95fc-455b-94df-d9f5d38927d7" providerId="ADAL" clId="{36918041-E131-4D75-BBEB-BCDA3AD3EB25}" dt="2025-11-12T19:32:03.601" v="475" actId="20577"/>
          <ac:spMkLst>
            <pc:docMk/>
            <pc:sldMk cId="4075655117" sldId="2147477005"/>
            <ac:spMk id="2" creationId="{9CAC69FC-3196-31EC-697C-F61404E90CF0}"/>
          </ac:spMkLst>
        </pc:spChg>
      </pc:sldChg>
      <pc:sldChg chg="addSp delSp modSp new mod">
        <pc:chgData name="Almond, Ronce" userId="4da4521a-95fc-455b-94df-d9f5d38927d7" providerId="ADAL" clId="{36918041-E131-4D75-BBEB-BCDA3AD3EB25}" dt="2025-11-12T19:32:58.435" v="485" actId="20577"/>
        <pc:sldMkLst>
          <pc:docMk/>
          <pc:sldMk cId="2051816257" sldId="2147477006"/>
        </pc:sldMkLst>
        <pc:spChg chg="add mod">
          <ac:chgData name="Almond, Ronce" userId="4da4521a-95fc-455b-94df-d9f5d38927d7" providerId="ADAL" clId="{36918041-E131-4D75-BBEB-BCDA3AD3EB25}" dt="2025-11-12T19:32:58.435" v="485" actId="20577"/>
          <ac:spMkLst>
            <pc:docMk/>
            <pc:sldMk cId="2051816257" sldId="2147477006"/>
            <ac:spMk id="4" creationId="{D5AD34BB-B865-20E7-0090-C9DE35B5762D}"/>
          </ac:spMkLst>
        </pc:spChg>
        <pc:picChg chg="add mod">
          <ac:chgData name="Almond, Ronce" userId="4da4521a-95fc-455b-94df-d9f5d38927d7" providerId="ADAL" clId="{36918041-E131-4D75-BBEB-BCDA3AD3EB25}" dt="2025-11-12T19:32:41.014" v="480" actId="1076"/>
          <ac:picMkLst>
            <pc:docMk/>
            <pc:sldMk cId="2051816257" sldId="2147477006"/>
            <ac:picMk id="7" creationId="{826401B8-F003-E20F-9359-98026B798CDA}"/>
          </ac:picMkLst>
        </pc:picChg>
        <pc:picChg chg="add mod">
          <ac:chgData name="Almond, Ronce" userId="4da4521a-95fc-455b-94df-d9f5d38927d7" providerId="ADAL" clId="{36918041-E131-4D75-BBEB-BCDA3AD3EB25}" dt="2025-11-11T18:17:58.171" v="312" actId="1076"/>
          <ac:picMkLst>
            <pc:docMk/>
            <pc:sldMk cId="2051816257" sldId="2147477006"/>
            <ac:picMk id="9" creationId="{C1D6FFC5-0E03-2920-F153-D9936EED9811}"/>
          </ac:picMkLst>
        </pc:picChg>
        <pc:picChg chg="add mod">
          <ac:chgData name="Almond, Ronce" userId="4da4521a-95fc-455b-94df-d9f5d38927d7" providerId="ADAL" clId="{36918041-E131-4D75-BBEB-BCDA3AD3EB25}" dt="2025-11-11T18:14:39.567" v="303" actId="1076"/>
          <ac:picMkLst>
            <pc:docMk/>
            <pc:sldMk cId="2051816257" sldId="2147477006"/>
            <ac:picMk id="11" creationId="{55B0454F-FAE7-D8BE-4D35-A936E8918438}"/>
          </ac:picMkLst>
        </pc:picChg>
        <pc:picChg chg="add mod">
          <ac:chgData name="Almond, Ronce" userId="4da4521a-95fc-455b-94df-d9f5d38927d7" providerId="ADAL" clId="{36918041-E131-4D75-BBEB-BCDA3AD3EB25}" dt="2025-11-11T18:17:47.569" v="308" actId="1076"/>
          <ac:picMkLst>
            <pc:docMk/>
            <pc:sldMk cId="2051816257" sldId="2147477006"/>
            <ac:picMk id="13" creationId="{BEF706D1-568C-CE27-CFB7-4895E00F02F7}"/>
          </ac:picMkLst>
        </pc:picChg>
        <pc:picChg chg="add mod">
          <ac:chgData name="Almond, Ronce" userId="4da4521a-95fc-455b-94df-d9f5d38927d7" providerId="ADAL" clId="{36918041-E131-4D75-BBEB-BCDA3AD3EB25}" dt="2025-11-12T19:32:26.127" v="478" actId="1076"/>
          <ac:picMkLst>
            <pc:docMk/>
            <pc:sldMk cId="2051816257" sldId="2147477006"/>
            <ac:picMk id="17" creationId="{779EA4E7-D0F1-E3DC-9444-0C019CE2CABA}"/>
          </ac:picMkLst>
        </pc:picChg>
        <pc:picChg chg="add mod">
          <ac:chgData name="Almond, Ronce" userId="4da4521a-95fc-455b-94df-d9f5d38927d7" providerId="ADAL" clId="{36918041-E131-4D75-BBEB-BCDA3AD3EB25}" dt="2025-11-11T18:17:56.571" v="311" actId="1076"/>
          <ac:picMkLst>
            <pc:docMk/>
            <pc:sldMk cId="2051816257" sldId="2147477006"/>
            <ac:picMk id="19" creationId="{519F417E-6121-3C51-E12D-365E61E725E8}"/>
          </ac:picMkLst>
        </pc:picChg>
        <pc:picChg chg="add mod">
          <ac:chgData name="Almond, Ronce" userId="4da4521a-95fc-455b-94df-d9f5d38927d7" providerId="ADAL" clId="{36918041-E131-4D75-BBEB-BCDA3AD3EB25}" dt="2025-11-12T19:32:20.135" v="477" actId="1076"/>
          <ac:picMkLst>
            <pc:docMk/>
            <pc:sldMk cId="2051816257" sldId="2147477006"/>
            <ac:picMk id="21" creationId="{38A2D672-5207-15FC-8C4B-4C785CBF0165}"/>
          </ac:picMkLst>
        </pc:picChg>
      </pc:sldChg>
      <pc:sldChg chg="addSp delSp modSp del mod">
        <pc:chgData name="Almond, Ronce" userId="4da4521a-95fc-455b-94df-d9f5d38927d7" providerId="ADAL" clId="{36918041-E131-4D75-BBEB-BCDA3AD3EB25}" dt="2025-11-12T19:30:01.553" v="450"/>
        <pc:sldMkLst>
          <pc:docMk/>
          <pc:sldMk cId="2125508683" sldId="2147477007"/>
        </pc:sldMkLst>
        <pc:spChg chg="add del">
          <ac:chgData name="Almond, Ronce" userId="4da4521a-95fc-455b-94df-d9f5d38927d7" providerId="ADAL" clId="{36918041-E131-4D75-BBEB-BCDA3AD3EB25}" dt="2025-11-12T19:29:59.283" v="449" actId="478"/>
          <ac:spMkLst>
            <pc:docMk/>
            <pc:sldMk cId="2125508683" sldId="2147477007"/>
            <ac:spMk id="2" creationId="{D3588519-333D-D48F-D7E2-C47A563EB968}"/>
          </ac:spMkLst>
        </pc:spChg>
        <pc:spChg chg="add del">
          <ac:chgData name="Almond, Ronce" userId="4da4521a-95fc-455b-94df-d9f5d38927d7" providerId="ADAL" clId="{36918041-E131-4D75-BBEB-BCDA3AD3EB25}" dt="2025-11-12T19:29:57.428" v="447" actId="478"/>
          <ac:spMkLst>
            <pc:docMk/>
            <pc:sldMk cId="2125508683" sldId="2147477007"/>
            <ac:spMk id="3" creationId="{12928D18-2BB1-3FD5-E422-234C5A3A8EFC}"/>
          </ac:spMkLst>
        </pc:spChg>
        <pc:spChg chg="add del mod">
          <ac:chgData name="Almond, Ronce" userId="4da4521a-95fc-455b-94df-d9f5d38927d7" providerId="ADAL" clId="{36918041-E131-4D75-BBEB-BCDA3AD3EB25}" dt="2025-11-12T19:29:59.283" v="449" actId="478"/>
          <ac:spMkLst>
            <pc:docMk/>
            <pc:sldMk cId="2125508683" sldId="2147477007"/>
            <ac:spMk id="5" creationId="{417738AF-A6C4-953A-66BC-DA34C344D184}"/>
          </ac:spMkLst>
        </pc:spChg>
        <pc:spChg chg="add del mod">
          <ac:chgData name="Almond, Ronce" userId="4da4521a-95fc-455b-94df-d9f5d38927d7" providerId="ADAL" clId="{36918041-E131-4D75-BBEB-BCDA3AD3EB25}" dt="2025-11-12T19:29:57.428" v="447" actId="478"/>
          <ac:spMkLst>
            <pc:docMk/>
            <pc:sldMk cId="2125508683" sldId="2147477007"/>
            <ac:spMk id="7" creationId="{B1DB7AE3-B73A-6C9F-1524-11C02EABE686}"/>
          </ac:spMkLst>
        </pc:spChg>
      </pc:sldChg>
      <pc:sldChg chg="modSp add mod">
        <pc:chgData name="Almond, Ronce" userId="4da4521a-95fc-455b-94df-d9f5d38927d7" providerId="ADAL" clId="{36918041-E131-4D75-BBEB-BCDA3AD3EB25}" dt="2025-11-12T19:31:34.921" v="463" actId="20577"/>
        <pc:sldMkLst>
          <pc:docMk/>
          <pc:sldMk cId="3256345430" sldId="2147477007"/>
        </pc:sldMkLst>
        <pc:spChg chg="mod">
          <ac:chgData name="Almond, Ronce" userId="4da4521a-95fc-455b-94df-d9f5d38927d7" providerId="ADAL" clId="{36918041-E131-4D75-BBEB-BCDA3AD3EB25}" dt="2025-11-12T19:31:34.921" v="463" actId="20577"/>
          <ac:spMkLst>
            <pc:docMk/>
            <pc:sldMk cId="3256345430" sldId="2147477007"/>
            <ac:spMk id="2" creationId="{D3588519-333D-D48F-D7E2-C47A563EB968}"/>
          </ac:spMkLst>
        </pc:spChg>
      </pc:sldChg>
      <pc:sldChg chg="addSp delSp modSp new mod">
        <pc:chgData name="Almond, Ronce" userId="4da4521a-95fc-455b-94df-d9f5d38927d7" providerId="ADAL" clId="{36918041-E131-4D75-BBEB-BCDA3AD3EB25}" dt="2025-11-13T01:41:08.692" v="966" actId="1076"/>
        <pc:sldMkLst>
          <pc:docMk/>
          <pc:sldMk cId="723606483" sldId="2147477008"/>
        </pc:sldMkLst>
        <pc:spChg chg="del">
          <ac:chgData name="Almond, Ronce" userId="4da4521a-95fc-455b-94df-d9f5d38927d7" providerId="ADAL" clId="{36918041-E131-4D75-BBEB-BCDA3AD3EB25}" dt="2025-11-12T19:34:11.078" v="491" actId="478"/>
          <ac:spMkLst>
            <pc:docMk/>
            <pc:sldMk cId="723606483" sldId="2147477008"/>
            <ac:spMk id="2" creationId="{B8AAB4A0-A101-87D5-2A88-42F6E7E8D461}"/>
          </ac:spMkLst>
        </pc:spChg>
        <pc:spChg chg="del">
          <ac:chgData name="Almond, Ronce" userId="4da4521a-95fc-455b-94df-d9f5d38927d7" providerId="ADAL" clId="{36918041-E131-4D75-BBEB-BCDA3AD3EB25}" dt="2025-11-12T19:34:07.832" v="490" actId="478"/>
          <ac:spMkLst>
            <pc:docMk/>
            <pc:sldMk cId="723606483" sldId="2147477008"/>
            <ac:spMk id="3" creationId="{5F050C6F-672E-1B7C-2B1A-0182217E5E6E}"/>
          </ac:spMkLst>
        </pc:spChg>
        <pc:spChg chg="add del mod">
          <ac:chgData name="Almond, Ronce" userId="4da4521a-95fc-455b-94df-d9f5d38927d7" providerId="ADAL" clId="{36918041-E131-4D75-BBEB-BCDA3AD3EB25}" dt="2025-11-12T19:36:50.827" v="497" actId="21"/>
          <ac:spMkLst>
            <pc:docMk/>
            <pc:sldMk cId="723606483" sldId="2147477008"/>
            <ac:spMk id="4" creationId="{7FB03031-FEC6-8D4D-D341-910A479BC21E}"/>
          </ac:spMkLst>
        </pc:spChg>
        <pc:spChg chg="add del mod">
          <ac:chgData name="Almond, Ronce" userId="4da4521a-95fc-455b-94df-d9f5d38927d7" providerId="ADAL" clId="{36918041-E131-4D75-BBEB-BCDA3AD3EB25}" dt="2025-11-12T19:39:46.877" v="502" actId="21"/>
          <ac:spMkLst>
            <pc:docMk/>
            <pc:sldMk cId="723606483" sldId="2147477008"/>
            <ac:spMk id="5" creationId="{013D0B1D-FF45-3B4F-56E3-0A7D4551A0B3}"/>
          </ac:spMkLst>
        </pc:spChg>
        <pc:spChg chg="add mod">
          <ac:chgData name="Almond, Ronce" userId="4da4521a-95fc-455b-94df-d9f5d38927d7" providerId="ADAL" clId="{36918041-E131-4D75-BBEB-BCDA3AD3EB25}" dt="2025-11-12T19:40:23.723" v="506"/>
          <ac:spMkLst>
            <pc:docMk/>
            <pc:sldMk cId="723606483" sldId="2147477008"/>
            <ac:spMk id="6" creationId="{DEC7717A-CDAD-233D-2F7F-5625B600290E}"/>
          </ac:spMkLst>
        </pc:spChg>
        <pc:spChg chg="add mod">
          <ac:chgData name="Almond, Ronce" userId="4da4521a-95fc-455b-94df-d9f5d38927d7" providerId="ADAL" clId="{36918041-E131-4D75-BBEB-BCDA3AD3EB25}" dt="2025-11-13T01:41:08.692" v="966" actId="1076"/>
          <ac:spMkLst>
            <pc:docMk/>
            <pc:sldMk cId="723606483" sldId="2147477008"/>
            <ac:spMk id="8" creationId="{99545095-724A-1324-C9CF-0AB4B6F7B279}"/>
          </ac:spMkLst>
        </pc:spChg>
        <pc:picChg chg="add mod ord">
          <ac:chgData name="Almond, Ronce" userId="4da4521a-95fc-455b-94df-d9f5d38927d7" providerId="ADAL" clId="{36918041-E131-4D75-BBEB-BCDA3AD3EB25}" dt="2025-11-13T01:34:30.765" v="918" actId="1076"/>
          <ac:picMkLst>
            <pc:docMk/>
            <pc:sldMk cId="723606483" sldId="2147477008"/>
            <ac:picMk id="3" creationId="{F975EEDC-CA73-ED52-6524-85B211EAB8A2}"/>
          </ac:picMkLst>
        </pc:picChg>
        <pc:picChg chg="add del mod ord">
          <ac:chgData name="Almond, Ronce" userId="4da4521a-95fc-455b-94df-d9f5d38927d7" providerId="ADAL" clId="{36918041-E131-4D75-BBEB-BCDA3AD3EB25}" dt="2025-11-13T01:25:41.336" v="889" actId="478"/>
          <ac:picMkLst>
            <pc:docMk/>
            <pc:sldMk cId="723606483" sldId="2147477008"/>
            <ac:picMk id="5" creationId="{CAEEC00A-7BE8-D15E-6929-FDBB76328E94}"/>
          </ac:picMkLst>
        </pc:picChg>
        <pc:picChg chg="add mod">
          <ac:chgData name="Almond, Ronce" userId="4da4521a-95fc-455b-94df-d9f5d38927d7" providerId="ADAL" clId="{36918041-E131-4D75-BBEB-BCDA3AD3EB25}" dt="2025-11-12T19:40:53.572" v="507"/>
          <ac:picMkLst>
            <pc:docMk/>
            <pc:sldMk cId="723606483" sldId="2147477008"/>
            <ac:picMk id="7" creationId="{E204D610-A96B-1033-3D3D-F82F8686A6BC}"/>
          </ac:picMkLst>
        </pc:picChg>
        <pc:picChg chg="add del mod">
          <ac:chgData name="Almond, Ronce" userId="4da4521a-95fc-455b-94df-d9f5d38927d7" providerId="ADAL" clId="{36918041-E131-4D75-BBEB-BCDA3AD3EB25}" dt="2025-11-13T01:25:51.553" v="891" actId="478"/>
          <ac:picMkLst>
            <pc:docMk/>
            <pc:sldMk cId="723606483" sldId="2147477008"/>
            <ac:picMk id="10" creationId="{FFDFE01B-208D-9E6F-1F8B-16CC0EE2991D}"/>
          </ac:picMkLst>
        </pc:picChg>
        <pc:picChg chg="add mod">
          <ac:chgData name="Almond, Ronce" userId="4da4521a-95fc-455b-94df-d9f5d38927d7" providerId="ADAL" clId="{36918041-E131-4D75-BBEB-BCDA3AD3EB25}" dt="2025-11-13T01:34:37.525" v="920" actId="1076"/>
          <ac:picMkLst>
            <pc:docMk/>
            <pc:sldMk cId="723606483" sldId="2147477008"/>
            <ac:picMk id="11" creationId="{BB846DFD-41B1-DDB1-AF4D-C6EABE03F426}"/>
          </ac:picMkLst>
        </pc:picChg>
        <pc:picChg chg="add mod">
          <ac:chgData name="Almond, Ronce" userId="4da4521a-95fc-455b-94df-d9f5d38927d7" providerId="ADAL" clId="{36918041-E131-4D75-BBEB-BCDA3AD3EB25}" dt="2025-11-13T01:34:39.222" v="921" actId="1076"/>
          <ac:picMkLst>
            <pc:docMk/>
            <pc:sldMk cId="723606483" sldId="2147477008"/>
            <ac:picMk id="12" creationId="{734B1BCD-B122-A7F0-76EB-3AF57B71862E}"/>
          </ac:picMkLst>
        </pc:picChg>
        <pc:picChg chg="add del mod">
          <ac:chgData name="Almond, Ronce" userId="4da4521a-95fc-455b-94df-d9f5d38927d7" providerId="ADAL" clId="{36918041-E131-4D75-BBEB-BCDA3AD3EB25}" dt="2025-11-13T01:34:34.348" v="919" actId="478"/>
          <ac:picMkLst>
            <pc:docMk/>
            <pc:sldMk cId="723606483" sldId="2147477008"/>
            <ac:picMk id="14" creationId="{1F072784-4DB1-F172-FCA9-D41D713AE63D}"/>
          </ac:picMkLst>
        </pc:picChg>
        <pc:picChg chg="add mod ord">
          <ac:chgData name="Almond, Ronce" userId="4da4521a-95fc-455b-94df-d9f5d38927d7" providerId="ADAL" clId="{36918041-E131-4D75-BBEB-BCDA3AD3EB25}" dt="2025-11-13T01:40:07.159" v="940" actId="1076"/>
          <ac:picMkLst>
            <pc:docMk/>
            <pc:sldMk cId="723606483" sldId="2147477008"/>
            <ac:picMk id="15" creationId="{B6705B5B-D242-B48F-67D0-A6729901FEAB}"/>
          </ac:picMkLst>
        </pc:picChg>
        <pc:picChg chg="add mod">
          <ac:chgData name="Almond, Ronce" userId="4da4521a-95fc-455b-94df-d9f5d38927d7" providerId="ADAL" clId="{36918041-E131-4D75-BBEB-BCDA3AD3EB25}" dt="2025-11-13T01:39:54.817" v="938" actId="1076"/>
          <ac:picMkLst>
            <pc:docMk/>
            <pc:sldMk cId="723606483" sldId="2147477008"/>
            <ac:picMk id="17" creationId="{495B75D4-7C90-323D-F1FD-FEC898035213}"/>
          </ac:picMkLst>
        </pc:picChg>
        <pc:picChg chg="add mod">
          <ac:chgData name="Almond, Ronce" userId="4da4521a-95fc-455b-94df-d9f5d38927d7" providerId="ADAL" clId="{36918041-E131-4D75-BBEB-BCDA3AD3EB25}" dt="2025-11-13T01:27:30.259" v="905" actId="14861"/>
          <ac:picMkLst>
            <pc:docMk/>
            <pc:sldMk cId="723606483" sldId="2147477008"/>
            <ac:picMk id="19" creationId="{A9323D90-53CC-981E-E1CE-0F37B60BCB78}"/>
          </ac:picMkLst>
        </pc:picChg>
        <pc:picChg chg="add mod">
          <ac:chgData name="Almond, Ronce" userId="4da4521a-95fc-455b-94df-d9f5d38927d7" providerId="ADAL" clId="{36918041-E131-4D75-BBEB-BCDA3AD3EB25}" dt="2025-11-13T01:35:16.423" v="927" actId="1076"/>
          <ac:picMkLst>
            <pc:docMk/>
            <pc:sldMk cId="723606483" sldId="2147477008"/>
            <ac:picMk id="21" creationId="{263D9BF6-CA55-FABE-C6EF-CB0E37B64A1F}"/>
          </ac:picMkLst>
        </pc:picChg>
        <pc:picChg chg="add mod">
          <ac:chgData name="Almond, Ronce" userId="4da4521a-95fc-455b-94df-d9f5d38927d7" providerId="ADAL" clId="{36918041-E131-4D75-BBEB-BCDA3AD3EB25}" dt="2025-11-13T01:40:04.453" v="939" actId="1076"/>
          <ac:picMkLst>
            <pc:docMk/>
            <pc:sldMk cId="723606483" sldId="2147477008"/>
            <ac:picMk id="23" creationId="{F81B9FA0-AB64-8B1E-FC5C-35B6DFE82EA6}"/>
          </ac:picMkLst>
        </pc:picChg>
      </pc:sldChg>
      <pc:sldChg chg="addSp delSp modSp del mod">
        <pc:chgData name="Almond, Ronce" userId="4da4521a-95fc-455b-94df-d9f5d38927d7" providerId="ADAL" clId="{36918041-E131-4D75-BBEB-BCDA3AD3EB25}" dt="2025-11-13T02:01:40.833" v="1061" actId="2696"/>
        <pc:sldMkLst>
          <pc:docMk/>
          <pc:sldMk cId="755242982" sldId="2147477009"/>
        </pc:sldMkLst>
        <pc:spChg chg="mod">
          <ac:chgData name="Almond, Ronce" userId="4da4521a-95fc-455b-94df-d9f5d38927d7" providerId="ADAL" clId="{36918041-E131-4D75-BBEB-BCDA3AD3EB25}" dt="2025-11-13T02:01:14.842" v="1056" actId="1076"/>
          <ac:spMkLst>
            <pc:docMk/>
            <pc:sldMk cId="755242982" sldId="2147477009"/>
            <ac:spMk id="6" creationId="{53C5B146-43ED-D859-C01E-E7E25E40673E}"/>
          </ac:spMkLst>
        </pc:spChg>
        <pc:spChg chg="add del mod">
          <ac:chgData name="Almond, Ronce" userId="4da4521a-95fc-455b-94df-d9f5d38927d7" providerId="ADAL" clId="{36918041-E131-4D75-BBEB-BCDA3AD3EB25}" dt="2025-11-13T02:00:15.624" v="1043" actId="1076"/>
          <ac:spMkLst>
            <pc:docMk/>
            <pc:sldMk cId="755242982" sldId="2147477009"/>
            <ac:spMk id="8" creationId="{BF27D9B2-4CDF-1C9F-EC20-E46F3BE93EE0}"/>
          </ac:spMkLst>
        </pc:spChg>
        <pc:picChg chg="add del mod">
          <ac:chgData name="Almond, Ronce" userId="4da4521a-95fc-455b-94df-d9f5d38927d7" providerId="ADAL" clId="{36918041-E131-4D75-BBEB-BCDA3AD3EB25}" dt="2025-11-13T02:01:30.867" v="1060" actId="478"/>
          <ac:picMkLst>
            <pc:docMk/>
            <pc:sldMk cId="755242982" sldId="2147477009"/>
            <ac:picMk id="2" creationId="{6A931AC9-9157-352D-E326-92ED31D76B9A}"/>
          </ac:picMkLst>
        </pc:picChg>
        <pc:picChg chg="del">
          <ac:chgData name="Almond, Ronce" userId="4da4521a-95fc-455b-94df-d9f5d38927d7" providerId="ADAL" clId="{36918041-E131-4D75-BBEB-BCDA3AD3EB25}" dt="2025-11-13T01:53:09.569" v="1017" actId="478"/>
          <ac:picMkLst>
            <pc:docMk/>
            <pc:sldMk cId="755242982" sldId="2147477009"/>
            <ac:picMk id="3" creationId="{426CD2A0-1397-0303-284A-98CBEF1CC3F3}"/>
          </ac:picMkLst>
        </pc:picChg>
        <pc:picChg chg="del">
          <ac:chgData name="Almond, Ronce" userId="4da4521a-95fc-455b-94df-d9f5d38927d7" providerId="ADAL" clId="{36918041-E131-4D75-BBEB-BCDA3AD3EB25}" dt="2025-11-13T01:53:16.985" v="1022" actId="478"/>
          <ac:picMkLst>
            <pc:docMk/>
            <pc:sldMk cId="755242982" sldId="2147477009"/>
            <ac:picMk id="11" creationId="{3C1853C1-1F95-91E9-5B52-E3D93467BEF2}"/>
          </ac:picMkLst>
        </pc:picChg>
        <pc:picChg chg="del">
          <ac:chgData name="Almond, Ronce" userId="4da4521a-95fc-455b-94df-d9f5d38927d7" providerId="ADAL" clId="{36918041-E131-4D75-BBEB-BCDA3AD3EB25}" dt="2025-11-13T01:53:14.019" v="1020" actId="478"/>
          <ac:picMkLst>
            <pc:docMk/>
            <pc:sldMk cId="755242982" sldId="2147477009"/>
            <ac:picMk id="12" creationId="{8403215D-EE90-B417-6CE3-1E9541BABC75}"/>
          </ac:picMkLst>
        </pc:picChg>
        <pc:picChg chg="del">
          <ac:chgData name="Almond, Ronce" userId="4da4521a-95fc-455b-94df-d9f5d38927d7" providerId="ADAL" clId="{36918041-E131-4D75-BBEB-BCDA3AD3EB25}" dt="2025-11-13T01:53:18.422" v="1023" actId="478"/>
          <ac:picMkLst>
            <pc:docMk/>
            <pc:sldMk cId="755242982" sldId="2147477009"/>
            <ac:picMk id="15" creationId="{AFABA0B1-0390-AEEE-C204-C07276462A1E}"/>
          </ac:picMkLst>
        </pc:picChg>
        <pc:picChg chg="del">
          <ac:chgData name="Almond, Ronce" userId="4da4521a-95fc-455b-94df-d9f5d38927d7" providerId="ADAL" clId="{36918041-E131-4D75-BBEB-BCDA3AD3EB25}" dt="2025-11-13T01:53:12.584" v="1019" actId="478"/>
          <ac:picMkLst>
            <pc:docMk/>
            <pc:sldMk cId="755242982" sldId="2147477009"/>
            <ac:picMk id="17" creationId="{26856DD6-7AEA-D1C4-1B33-DE37D8387C41}"/>
          </ac:picMkLst>
        </pc:picChg>
        <pc:picChg chg="del">
          <ac:chgData name="Almond, Ronce" userId="4da4521a-95fc-455b-94df-d9f5d38927d7" providerId="ADAL" clId="{36918041-E131-4D75-BBEB-BCDA3AD3EB25}" dt="2025-11-13T01:53:06.965" v="1016" actId="478"/>
          <ac:picMkLst>
            <pc:docMk/>
            <pc:sldMk cId="755242982" sldId="2147477009"/>
            <ac:picMk id="19" creationId="{657308D9-CE12-A17A-E024-5AC7CAA3D911}"/>
          </ac:picMkLst>
        </pc:picChg>
        <pc:picChg chg="del">
          <ac:chgData name="Almond, Ronce" userId="4da4521a-95fc-455b-94df-d9f5d38927d7" providerId="ADAL" clId="{36918041-E131-4D75-BBEB-BCDA3AD3EB25}" dt="2025-11-13T01:53:11.184" v="1018" actId="478"/>
          <ac:picMkLst>
            <pc:docMk/>
            <pc:sldMk cId="755242982" sldId="2147477009"/>
            <ac:picMk id="21" creationId="{DEF7D4B6-BFBB-FE09-3303-9C1713514EB7}"/>
          </ac:picMkLst>
        </pc:picChg>
        <pc:picChg chg="del">
          <ac:chgData name="Almond, Ronce" userId="4da4521a-95fc-455b-94df-d9f5d38927d7" providerId="ADAL" clId="{36918041-E131-4D75-BBEB-BCDA3AD3EB25}" dt="2025-11-13T01:53:15.598" v="1021" actId="478"/>
          <ac:picMkLst>
            <pc:docMk/>
            <pc:sldMk cId="755242982" sldId="2147477009"/>
            <ac:picMk id="23" creationId="{E2A02D3C-FAF9-78D8-7C40-E8559A7C5A66}"/>
          </ac:picMkLst>
        </pc:picChg>
        <pc:picChg chg="add mod">
          <ac:chgData name="Almond, Ronce" userId="4da4521a-95fc-455b-94df-d9f5d38927d7" providerId="ADAL" clId="{36918041-E131-4D75-BBEB-BCDA3AD3EB25}" dt="2025-11-13T02:01:14.842" v="1056" actId="1076"/>
          <ac:picMkLst>
            <pc:docMk/>
            <pc:sldMk cId="755242982" sldId="2147477009"/>
            <ac:picMk id="3074" creationId="{CAC11E0D-1124-8DB8-7E97-95877B0ACCEC}"/>
          </ac:picMkLst>
        </pc:picChg>
      </pc:sldChg>
      <pc:sldChg chg="addSp delSp modSp mod">
        <pc:chgData name="Almond, Ronce" userId="4da4521a-95fc-455b-94df-d9f5d38927d7" providerId="ADAL" clId="{36918041-E131-4D75-BBEB-BCDA3AD3EB25}" dt="2025-11-13T11:21:48.775" v="1186" actId="1076"/>
        <pc:sldMkLst>
          <pc:docMk/>
          <pc:sldMk cId="3892261173" sldId="2147477009"/>
        </pc:sldMkLst>
        <pc:spChg chg="add">
          <ac:chgData name="Almond, Ronce" userId="4da4521a-95fc-455b-94df-d9f5d38927d7" providerId="ADAL" clId="{36918041-E131-4D75-BBEB-BCDA3AD3EB25}" dt="2025-11-13T11:16:10.966" v="1144"/>
          <ac:spMkLst>
            <pc:docMk/>
            <pc:sldMk cId="3892261173" sldId="2147477009"/>
            <ac:spMk id="5" creationId="{258C03E7-7940-68D5-1005-EF507ED44F75}"/>
          </ac:spMkLst>
        </pc:spChg>
        <pc:spChg chg="mod">
          <ac:chgData name="Almond, Ronce" userId="4da4521a-95fc-455b-94df-d9f5d38927d7" providerId="ADAL" clId="{36918041-E131-4D75-BBEB-BCDA3AD3EB25}" dt="2025-11-13T11:17:52.316" v="1160" actId="1076"/>
          <ac:spMkLst>
            <pc:docMk/>
            <pc:sldMk cId="3892261173" sldId="2147477009"/>
            <ac:spMk id="6" creationId="{04D1608C-746D-6917-40B8-80D173B476F8}"/>
          </ac:spMkLst>
        </pc:spChg>
        <pc:spChg chg="mod">
          <ac:chgData name="Almond, Ronce" userId="4da4521a-95fc-455b-94df-d9f5d38927d7" providerId="ADAL" clId="{36918041-E131-4D75-BBEB-BCDA3AD3EB25}" dt="2025-11-13T11:13:50.201" v="1143" actId="20577"/>
          <ac:spMkLst>
            <pc:docMk/>
            <pc:sldMk cId="3892261173" sldId="2147477009"/>
            <ac:spMk id="8" creationId="{05F9CF43-03D8-1267-5445-188ABE384929}"/>
          </ac:spMkLst>
        </pc:spChg>
        <pc:spChg chg="add mod">
          <ac:chgData name="Almond, Ronce" userId="4da4521a-95fc-455b-94df-d9f5d38927d7" providerId="ADAL" clId="{36918041-E131-4D75-BBEB-BCDA3AD3EB25}" dt="2025-11-13T11:16:33.134" v="1146"/>
          <ac:spMkLst>
            <pc:docMk/>
            <pc:sldMk cId="3892261173" sldId="2147477009"/>
            <ac:spMk id="9" creationId="{DD704823-3B9C-DBC0-62F6-EFA1008116A3}"/>
          </ac:spMkLst>
        </pc:spChg>
        <pc:picChg chg="del">
          <ac:chgData name="Almond, Ronce" userId="4da4521a-95fc-455b-94df-d9f5d38927d7" providerId="ADAL" clId="{36918041-E131-4D75-BBEB-BCDA3AD3EB25}" dt="2025-11-13T11:12:54.018" v="1075" actId="478"/>
          <ac:picMkLst>
            <pc:docMk/>
            <pc:sldMk cId="3892261173" sldId="2147477009"/>
            <ac:picMk id="3" creationId="{5A15C349-56D7-55A2-5DF3-9D3D092A3609}"/>
          </ac:picMkLst>
        </pc:picChg>
        <pc:picChg chg="add mod">
          <ac:chgData name="Almond, Ronce" userId="4da4521a-95fc-455b-94df-d9f5d38927d7" providerId="ADAL" clId="{36918041-E131-4D75-BBEB-BCDA3AD3EB25}" dt="2025-11-13T11:21:43.890" v="1185" actId="1076"/>
          <ac:picMkLst>
            <pc:docMk/>
            <pc:sldMk cId="3892261173" sldId="2147477009"/>
            <ac:picMk id="4" creationId="{1C61E5FA-6C50-64B4-BE75-62C3382E65FE}"/>
          </ac:picMkLst>
        </pc:picChg>
        <pc:picChg chg="add mod">
          <ac:chgData name="Almond, Ronce" userId="4da4521a-95fc-455b-94df-d9f5d38927d7" providerId="ADAL" clId="{36918041-E131-4D75-BBEB-BCDA3AD3EB25}" dt="2025-11-13T11:21:48.775" v="1186" actId="1076"/>
          <ac:picMkLst>
            <pc:docMk/>
            <pc:sldMk cId="3892261173" sldId="2147477009"/>
            <ac:picMk id="10" creationId="{C2FF8D03-1FBD-C91C-3FCF-69AB83B6A9B4}"/>
          </ac:picMkLst>
        </pc:picChg>
        <pc:picChg chg="del">
          <ac:chgData name="Almond, Ronce" userId="4da4521a-95fc-455b-94df-d9f5d38927d7" providerId="ADAL" clId="{36918041-E131-4D75-BBEB-BCDA3AD3EB25}" dt="2025-11-13T11:13:00.104" v="1079" actId="478"/>
          <ac:picMkLst>
            <pc:docMk/>
            <pc:sldMk cId="3892261173" sldId="2147477009"/>
            <ac:picMk id="11" creationId="{838F2296-609D-F68B-3B94-80F4B6757E7C}"/>
          </ac:picMkLst>
        </pc:picChg>
        <pc:picChg chg="del">
          <ac:chgData name="Almond, Ronce" userId="4da4521a-95fc-455b-94df-d9f5d38927d7" providerId="ADAL" clId="{36918041-E131-4D75-BBEB-BCDA3AD3EB25}" dt="2025-11-13T11:13:01.756" v="1080" actId="478"/>
          <ac:picMkLst>
            <pc:docMk/>
            <pc:sldMk cId="3892261173" sldId="2147477009"/>
            <ac:picMk id="12" creationId="{45277EE7-74BD-4832-1460-008FC9DFC1CC}"/>
          </ac:picMkLst>
        </pc:picChg>
        <pc:picChg chg="add mod">
          <ac:chgData name="Almond, Ronce" userId="4da4521a-95fc-455b-94df-d9f5d38927d7" providerId="ADAL" clId="{36918041-E131-4D75-BBEB-BCDA3AD3EB25}" dt="2025-11-13T11:21:33.422" v="1183" actId="14100"/>
          <ac:picMkLst>
            <pc:docMk/>
            <pc:sldMk cId="3892261173" sldId="2147477009"/>
            <ac:picMk id="14" creationId="{83A3D1B1-B809-0DEC-5929-AF025214602A}"/>
          </ac:picMkLst>
        </pc:picChg>
        <pc:picChg chg="del">
          <ac:chgData name="Almond, Ronce" userId="4da4521a-95fc-455b-94df-d9f5d38927d7" providerId="ADAL" clId="{36918041-E131-4D75-BBEB-BCDA3AD3EB25}" dt="2025-11-13T11:12:58.520" v="1078" actId="478"/>
          <ac:picMkLst>
            <pc:docMk/>
            <pc:sldMk cId="3892261173" sldId="2147477009"/>
            <ac:picMk id="15" creationId="{36E88B34-F03B-7BD2-BC00-BD0F8388A261}"/>
          </ac:picMkLst>
        </pc:picChg>
        <pc:picChg chg="del">
          <ac:chgData name="Almond, Ronce" userId="4da4521a-95fc-455b-94df-d9f5d38927d7" providerId="ADAL" clId="{36918041-E131-4D75-BBEB-BCDA3AD3EB25}" dt="2025-11-13T11:12:55.472" v="1076" actId="478"/>
          <ac:picMkLst>
            <pc:docMk/>
            <pc:sldMk cId="3892261173" sldId="2147477009"/>
            <ac:picMk id="17" creationId="{4FB5BC38-36AC-F19B-3D04-2F203E46D020}"/>
          </ac:picMkLst>
        </pc:picChg>
        <pc:picChg chg="add mod">
          <ac:chgData name="Almond, Ronce" userId="4da4521a-95fc-455b-94df-d9f5d38927d7" providerId="ADAL" clId="{36918041-E131-4D75-BBEB-BCDA3AD3EB25}" dt="2025-11-13T11:21:13.487" v="1180" actId="14861"/>
          <ac:picMkLst>
            <pc:docMk/>
            <pc:sldMk cId="3892261173" sldId="2147477009"/>
            <ac:picMk id="18" creationId="{81C14FF4-54AC-4535-E382-87D878FC2D2A}"/>
          </ac:picMkLst>
        </pc:picChg>
        <pc:picChg chg="del">
          <ac:chgData name="Almond, Ronce" userId="4da4521a-95fc-455b-94df-d9f5d38927d7" providerId="ADAL" clId="{36918041-E131-4D75-BBEB-BCDA3AD3EB25}" dt="2025-11-13T11:12:52.242" v="1074" actId="478"/>
          <ac:picMkLst>
            <pc:docMk/>
            <pc:sldMk cId="3892261173" sldId="2147477009"/>
            <ac:picMk id="19" creationId="{2CEE7DB7-E072-3F64-8B87-9E5BDC1F3897}"/>
          </ac:picMkLst>
        </pc:picChg>
        <pc:picChg chg="del">
          <ac:chgData name="Almond, Ronce" userId="4da4521a-95fc-455b-94df-d9f5d38927d7" providerId="ADAL" clId="{36918041-E131-4D75-BBEB-BCDA3AD3EB25}" dt="2025-11-13T11:13:05.086" v="1081" actId="478"/>
          <ac:picMkLst>
            <pc:docMk/>
            <pc:sldMk cId="3892261173" sldId="2147477009"/>
            <ac:picMk id="21" creationId="{8EE6B5FB-6D41-B432-2C70-8C6EFCDAFFBC}"/>
          </ac:picMkLst>
        </pc:picChg>
        <pc:picChg chg="del">
          <ac:chgData name="Almond, Ronce" userId="4da4521a-95fc-455b-94df-d9f5d38927d7" providerId="ADAL" clId="{36918041-E131-4D75-BBEB-BCDA3AD3EB25}" dt="2025-11-13T11:12:57.108" v="1077" actId="478"/>
          <ac:picMkLst>
            <pc:docMk/>
            <pc:sldMk cId="3892261173" sldId="2147477009"/>
            <ac:picMk id="23" creationId="{59E618B9-4348-DF74-3E5F-53BB77C8F2CD}"/>
          </ac:picMkLst>
        </pc:picChg>
        <pc:picChg chg="add mod">
          <ac:chgData name="Almond, Ronce" userId="4da4521a-95fc-455b-94df-d9f5d38927d7" providerId="ADAL" clId="{36918041-E131-4D75-BBEB-BCDA3AD3EB25}" dt="2025-11-13T11:17:27.530" v="1153" actId="1076"/>
          <ac:picMkLst>
            <pc:docMk/>
            <pc:sldMk cId="3892261173" sldId="2147477009"/>
            <ac:picMk id="1030" creationId="{5F602042-AEB5-5A2D-374D-1A31E118D49F}"/>
          </ac:picMkLst>
        </pc:picChg>
        <pc:picChg chg="add mod">
          <ac:chgData name="Almond, Ronce" userId="4da4521a-95fc-455b-94df-d9f5d38927d7" providerId="ADAL" clId="{36918041-E131-4D75-BBEB-BCDA3AD3EB25}" dt="2025-11-13T11:17:52.316" v="1160" actId="1076"/>
          <ac:picMkLst>
            <pc:docMk/>
            <pc:sldMk cId="3892261173" sldId="2147477009"/>
            <ac:picMk id="1032" creationId="{CF642AE4-4706-3B9C-7034-F12FAD569ADB}"/>
          </ac:picMkLst>
        </pc:picChg>
      </pc:sldChg>
      <pc:sldMasterChg chg="addSp modSp modSldLayout">
        <pc:chgData name="Almond, Ronce" userId="4da4521a-95fc-455b-94df-d9f5d38927d7" providerId="ADAL" clId="{36918041-E131-4D75-BBEB-BCDA3AD3EB25}" dt="2025-11-12T19:40:10.068" v="505" actId="167"/>
        <pc:sldMasterMkLst>
          <pc:docMk/>
          <pc:sldMasterMk cId="608500259" sldId="2147483796"/>
        </pc:sldMasterMkLst>
        <pc:picChg chg="add mod">
          <ac:chgData name="Almond, Ronce" userId="4da4521a-95fc-455b-94df-d9f5d38927d7" providerId="ADAL" clId="{36918041-E131-4D75-BBEB-BCDA3AD3EB25}" dt="2025-11-12T19:35:54.668" v="494"/>
          <ac:picMkLst>
            <pc:docMk/>
            <pc:sldMasterMk cId="608500259" sldId="2147483796"/>
            <ac:picMk id="5" creationId="{1E1FFB73-BCA0-4A02-F34D-D238614584DF}"/>
          </ac:picMkLst>
        </pc:picChg>
        <pc:sldLayoutChg chg="addSp modSp mod">
          <pc:chgData name="Almond, Ronce" userId="4da4521a-95fc-455b-94df-d9f5d38927d7" providerId="ADAL" clId="{36918041-E131-4D75-BBEB-BCDA3AD3EB25}" dt="2025-11-12T19:40:10.068" v="505" actId="167"/>
          <pc:sldLayoutMkLst>
            <pc:docMk/>
            <pc:sldMasterMk cId="608500259" sldId="2147483796"/>
            <pc:sldLayoutMk cId="2958735148" sldId="2147483797"/>
          </pc:sldLayoutMkLst>
          <pc:spChg chg="add mod ord">
            <ac:chgData name="Almond, Ronce" userId="4da4521a-95fc-455b-94df-d9f5d38927d7" providerId="ADAL" clId="{36918041-E131-4D75-BBEB-BCDA3AD3EB25}" dt="2025-11-12T19:37:59.231" v="500" actId="167"/>
            <ac:spMkLst>
              <pc:docMk/>
              <pc:sldMasterMk cId="608500259" sldId="2147483796"/>
              <pc:sldLayoutMk cId="2958735148" sldId="2147483797"/>
              <ac:spMk id="4" creationId="{E9DB2F1B-2E0D-FB04-768F-2816BA214D83}"/>
            </ac:spMkLst>
          </pc:spChg>
          <pc:spChg chg="add mod ord">
            <ac:chgData name="Almond, Ronce" userId="4da4521a-95fc-455b-94df-d9f5d38927d7" providerId="ADAL" clId="{36918041-E131-4D75-BBEB-BCDA3AD3EB25}" dt="2025-11-12T19:40:10.068" v="505" actId="167"/>
            <ac:spMkLst>
              <pc:docMk/>
              <pc:sldMasterMk cId="608500259" sldId="2147483796"/>
              <pc:sldLayoutMk cId="2958735148" sldId="2147483797"/>
              <ac:spMk id="5" creationId="{8E9110CF-8706-E72C-5746-EED51D32B69E}"/>
            </ac:spMkLst>
          </pc:spChg>
          <pc:picChg chg="add mod">
            <ac:chgData name="Almond, Ronce" userId="4da4521a-95fc-455b-94df-d9f5d38927d7" providerId="ADAL" clId="{36918041-E131-4D75-BBEB-BCDA3AD3EB25}" dt="2025-11-12T19:27:45.064" v="430"/>
            <ac:picMkLst>
              <pc:docMk/>
              <pc:sldMasterMk cId="608500259" sldId="2147483796"/>
              <pc:sldLayoutMk cId="2958735148" sldId="2147483797"/>
              <ac:picMk id="2" creationId="{15D2A404-15F9-E3A5-9663-299D11831CCA}"/>
            </ac:picMkLst>
          </pc:picChg>
          <pc:picChg chg="add mod">
            <ac:chgData name="Almond, Ronce" userId="4da4521a-95fc-455b-94df-d9f5d38927d7" providerId="ADAL" clId="{36918041-E131-4D75-BBEB-BCDA3AD3EB25}" dt="2025-11-12T19:35:41.534" v="493"/>
            <ac:picMkLst>
              <pc:docMk/>
              <pc:sldMasterMk cId="608500259" sldId="2147483796"/>
              <pc:sldLayoutMk cId="2958735148" sldId="2147483797"/>
              <ac:picMk id="3" creationId="{A398A492-2F2D-90D5-381F-A85CE653D078}"/>
            </ac:picMkLst>
          </pc:picChg>
        </pc:sldLayoutChg>
        <pc:sldLayoutChg chg="addSp delSp modSp mod">
          <pc:chgData name="Almond, Ronce" userId="4da4521a-95fc-455b-94df-d9f5d38927d7" providerId="ADAL" clId="{36918041-E131-4D75-BBEB-BCDA3AD3EB25}" dt="2025-11-12T19:29:46.750" v="445" actId="478"/>
          <pc:sldLayoutMkLst>
            <pc:docMk/>
            <pc:sldMasterMk cId="608500259" sldId="2147483796"/>
            <pc:sldLayoutMk cId="3736122293" sldId="2147483801"/>
          </pc:sldLayoutMkLst>
          <pc:spChg chg="add del">
            <ac:chgData name="Almond, Ronce" userId="4da4521a-95fc-455b-94df-d9f5d38927d7" providerId="ADAL" clId="{36918041-E131-4D75-BBEB-BCDA3AD3EB25}" dt="2025-11-12T19:29:21.793" v="440" actId="478"/>
            <ac:spMkLst>
              <pc:docMk/>
              <pc:sldMasterMk cId="608500259" sldId="2147483796"/>
              <pc:sldLayoutMk cId="3736122293" sldId="2147483801"/>
              <ac:spMk id="9" creationId="{C9C0D2F2-DE3D-0A46-B000-D1529BA884B9}"/>
            </ac:spMkLst>
          </pc:spChg>
          <pc:spChg chg="add del">
            <ac:chgData name="Almond, Ronce" userId="4da4521a-95fc-455b-94df-d9f5d38927d7" providerId="ADAL" clId="{36918041-E131-4D75-BBEB-BCDA3AD3EB25}" dt="2025-11-12T19:29:44.284" v="443" actId="478"/>
            <ac:spMkLst>
              <pc:docMk/>
              <pc:sldMasterMk cId="608500259" sldId="2147483796"/>
              <pc:sldLayoutMk cId="3736122293" sldId="2147483801"/>
              <ac:spMk id="13" creationId="{FA56D760-6A6D-2D4A-B736-180C25F10720}"/>
            </ac:spMkLst>
          </pc:spChg>
          <pc:spChg chg="add del">
            <ac:chgData name="Almond, Ronce" userId="4da4521a-95fc-455b-94df-d9f5d38927d7" providerId="ADAL" clId="{36918041-E131-4D75-BBEB-BCDA3AD3EB25}" dt="2025-11-12T19:29:42.648" v="442" actId="478"/>
            <ac:spMkLst>
              <pc:docMk/>
              <pc:sldMasterMk cId="608500259" sldId="2147483796"/>
              <pc:sldLayoutMk cId="3736122293" sldId="2147483801"/>
              <ac:spMk id="14" creationId="{E9FB0631-5DFF-C64B-B50F-F194E6DCAB0E}"/>
            </ac:spMkLst>
          </pc:spChg>
          <pc:picChg chg="add mod">
            <ac:chgData name="Almond, Ronce" userId="4da4521a-95fc-455b-94df-d9f5d38927d7" providerId="ADAL" clId="{36918041-E131-4D75-BBEB-BCDA3AD3EB25}" dt="2025-11-12T19:28:57.674" v="432"/>
            <ac:picMkLst>
              <pc:docMk/>
              <pc:sldMasterMk cId="608500259" sldId="2147483796"/>
              <pc:sldLayoutMk cId="3736122293" sldId="2147483801"/>
              <ac:picMk id="2" creationId="{63DF4FE4-3524-1E58-7FBA-EC52C56A3D0F}"/>
            </ac:picMkLst>
          </pc:picChg>
          <pc:picChg chg="add del">
            <ac:chgData name="Almond, Ronce" userId="4da4521a-95fc-455b-94df-d9f5d38927d7" providerId="ADAL" clId="{36918041-E131-4D75-BBEB-BCDA3AD3EB25}" dt="2025-11-12T19:29:45.118" v="444" actId="478"/>
            <ac:picMkLst>
              <pc:docMk/>
              <pc:sldMasterMk cId="608500259" sldId="2147483796"/>
              <pc:sldLayoutMk cId="3736122293" sldId="2147483801"/>
              <ac:picMk id="10" creationId="{A6F32039-DE43-FF41-AE69-E1C6C4F9A872}"/>
            </ac:picMkLst>
          </pc:picChg>
          <pc:picChg chg="add del">
            <ac:chgData name="Almond, Ronce" userId="4da4521a-95fc-455b-94df-d9f5d38927d7" providerId="ADAL" clId="{36918041-E131-4D75-BBEB-BCDA3AD3EB25}" dt="2025-11-12T19:29:46.750" v="445" actId="478"/>
            <ac:picMkLst>
              <pc:docMk/>
              <pc:sldMasterMk cId="608500259" sldId="2147483796"/>
              <pc:sldLayoutMk cId="3736122293" sldId="2147483801"/>
              <ac:picMk id="11" creationId="{27E36764-0534-2A47-82F4-4BDF7F536FB5}"/>
            </ac:picMkLst>
          </pc:pic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61A1128-A394-4D3A-9BE5-107FB5A141D2}" type="datetimeFigureOut">
              <a:rPr lang="en-US" smtClean="0"/>
              <a:t>11/13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F2403AB-A5AF-4CBF-A9F8-1E92CD117A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0746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4.png"/><Relationship Id="rId4" Type="http://schemas.openxmlformats.org/officeDocument/2006/relationships/image" Target="../media/image13.tif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4.png"/><Relationship Id="rId4" Type="http://schemas.openxmlformats.org/officeDocument/2006/relationships/image" Target="../media/image13.tiff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6.png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tif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3.tif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png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AE39F50-A8C2-944D-9A81-86FCB970C729}"/>
              </a:ext>
            </a:extLst>
          </p:cNvPr>
          <p:cNvSpPr/>
          <p:nvPr userDrawn="1"/>
        </p:nvSpPr>
        <p:spPr>
          <a:xfrm>
            <a:off x="0" y="0"/>
            <a:ext cx="12192000" cy="6866456"/>
          </a:xfrm>
          <a:prstGeom prst="rect">
            <a:avLst/>
          </a:prstGeom>
          <a:solidFill>
            <a:srgbClr val="007F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FFB3669-F614-1D46-9E95-63569CCB287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14463" y="2104103"/>
            <a:ext cx="9363075" cy="1540753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Slide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DFD606CB-5980-864E-BC3E-942C4C3D517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414463" y="3644857"/>
            <a:ext cx="9363075" cy="276224"/>
          </a:xfrm>
        </p:spPr>
        <p:txBody>
          <a:bodyPr>
            <a:norm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 of Chapt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E6EEB7-F5BE-9142-8E28-A2D9A8C3F2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590288"/>
            <a:ext cx="2573273" cy="2267712"/>
          </a:xfrm>
          <a:prstGeom prst="rect">
            <a:avLst/>
          </a:prstGeom>
        </p:spPr>
      </p:pic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FB74312-32B5-2F4A-BB47-FF03A284B08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99935" y="6281928"/>
            <a:ext cx="3392129" cy="276224"/>
          </a:xfrm>
        </p:spPr>
        <p:txBody>
          <a:bodyPr>
            <a:norm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ivileged &amp; Confidential</a:t>
            </a:r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B2E3C8A-FEF7-0647-86CB-796410E2EF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3531" y="214536"/>
            <a:ext cx="3191256" cy="48494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9F7809A-8F10-634D-9558-A10BEB6ACC9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48987" y="6077140"/>
            <a:ext cx="6858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8445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 w/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ED177B9-7F74-AE42-96B5-BE7F7EB331B7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latin typeface="AmericanSans" panose="02000000000000000000" pitchFamily="2" charset="77"/>
              </a:rPr>
              <a:t>‹#›</a:t>
            </a:fld>
            <a:endParaRPr lang="en-US" sz="900" b="0" i="1" dirty="0">
              <a:latin typeface="AmericanSans" panose="02000000000000000000" pitchFamily="2" charset="77"/>
            </a:endParaRP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07DAC6FE-5804-7D49-BC1D-386FF610C4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592" y="1537798"/>
            <a:ext cx="5550408" cy="379476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 sz="1400">
                <a:solidFill>
                  <a:schemeClr val="bg2">
                    <a:lumMod val="25000"/>
                  </a:schemeClr>
                </a:solidFill>
              </a:defRPr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Place a small paragraph or bulleted list here</a:t>
            </a:r>
          </a:p>
          <a:p>
            <a:pPr lvl="1"/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lvl="0"/>
            <a:endParaRPr lang="en-US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4B8872A-CDBE-1345-8678-CB5FFF3F99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00631" y="1531620"/>
            <a:ext cx="5550408" cy="379476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 sz="1400">
                <a:solidFill>
                  <a:schemeClr val="bg2">
                    <a:lumMod val="25000"/>
                  </a:schemeClr>
                </a:solidFill>
              </a:defRPr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Place a small paragraph or bulleted list here</a:t>
            </a:r>
          </a:p>
          <a:p>
            <a:pPr lvl="1"/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EF6444-6593-D849-9CC6-0F467DA64F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5050340-2CE7-A542-B014-72A1DAF251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501" y="383168"/>
            <a:ext cx="11302538" cy="1069047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List w/ Sub Bullet Title Here</a:t>
            </a:r>
          </a:p>
        </p:txBody>
      </p:sp>
    </p:spTree>
    <p:extLst>
      <p:ext uri="{BB962C8B-B14F-4D97-AF65-F5344CB8AC3E}">
        <p14:creationId xmlns:p14="http://schemas.microsoft.com/office/powerpoint/2010/main" val="423256495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83ACD7-27EE-CC48-8599-FA698431291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692119" y="1192260"/>
            <a:ext cx="2199190" cy="3406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dirty="0">
                <a:solidFill>
                  <a:schemeClr val="bg1"/>
                </a:solidFill>
                <a:latin typeface="AmericanSans" panose="02000000000000000000" pitchFamily="2" charset="77"/>
              </a:rPr>
              <a:t>January 1, 202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BF77620-DD25-904E-A8B8-CF3DB84AD8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17172" y="1282414"/>
            <a:ext cx="3573826" cy="687003"/>
          </a:xfrm>
        </p:spPr>
        <p:txBody>
          <a:bodyPr/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3B84278-9197-2A43-B591-062BB4D79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43441" y="2330970"/>
            <a:ext cx="8955039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DD77659D-F558-AC41-9B8E-4FBED8B0C8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9086" y="3306329"/>
            <a:ext cx="8955039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FA33482-AF8F-C045-81DE-A287F27BA88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52151" y="4265022"/>
            <a:ext cx="8941974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E120FCF0-C3D8-EB46-B7D4-1EC38C310FB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47796" y="5266507"/>
            <a:ext cx="8941974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8EB9E7-2746-BA42-8733-B0F969B59181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76EBE57-D58F-6C43-B73C-E8D8F44A1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64890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83ACD7-27EE-CC48-8599-FA698431291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692119" y="1192260"/>
            <a:ext cx="2199190" cy="3406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dirty="0">
                <a:solidFill>
                  <a:schemeClr val="bg1"/>
                </a:solidFill>
                <a:latin typeface="AmericanSans" panose="02000000000000000000" pitchFamily="2" charset="77"/>
              </a:rPr>
              <a:t>January 1, 202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BF77620-DD25-904E-A8B8-CF3DB84AD8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17172" y="1282414"/>
            <a:ext cx="3573826" cy="687003"/>
          </a:xfrm>
        </p:spPr>
        <p:txBody>
          <a:bodyPr/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8EB9E7-2746-BA42-8733-B0F969B59181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681516DD-C626-F249-9CC5-E722FA4A3885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>
          <a:xfrm flipH="1">
            <a:off x="1786973" y="2533537"/>
            <a:ext cx="212241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68E13D9-3750-3448-9429-C0C222364975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>
          <a:xfrm flipH="1">
            <a:off x="4201942" y="2533298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B086BE04-9DD8-E541-B9DB-6866097F71BD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 flipH="1">
            <a:off x="6616911" y="2533298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D3A07B5-3929-E841-A580-4C5440BC2640}"/>
              </a:ext>
            </a:extLst>
          </p:cNvPr>
          <p:cNvSpPr>
            <a:spLocks noGrp="1" noChangeAspect="1"/>
          </p:cNvSpPr>
          <p:nvPr>
            <p:ph type="body" sz="quarter" idx="33" hasCustomPrompt="1"/>
          </p:nvPr>
        </p:nvSpPr>
        <p:spPr>
          <a:xfrm flipH="1">
            <a:off x="9035524" y="2533297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A65C6345-B921-7742-A4E6-F4C2AB64C419}"/>
              </a:ext>
            </a:extLst>
          </p:cNvPr>
          <p:cNvSpPr>
            <a:spLocks noGrp="1" noChangeAspect="1"/>
          </p:cNvSpPr>
          <p:nvPr>
            <p:ph type="body" sz="quarter" idx="34" hasCustomPrompt="1"/>
          </p:nvPr>
        </p:nvSpPr>
        <p:spPr>
          <a:xfrm flipH="1">
            <a:off x="1786973" y="4570435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F72122D9-FAF6-A246-B0F2-AA9015838054}"/>
              </a:ext>
            </a:extLst>
          </p:cNvPr>
          <p:cNvSpPr>
            <a:spLocks noGrp="1" noChangeAspect="1"/>
          </p:cNvSpPr>
          <p:nvPr>
            <p:ph type="body" sz="quarter" idx="35" hasCustomPrompt="1"/>
          </p:nvPr>
        </p:nvSpPr>
        <p:spPr>
          <a:xfrm flipH="1">
            <a:off x="4221817" y="4570435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DF681123-F126-204E-91C9-F3BD27546B49}"/>
              </a:ext>
            </a:extLst>
          </p:cNvPr>
          <p:cNvSpPr>
            <a:spLocks noGrp="1" noChangeAspect="1"/>
          </p:cNvSpPr>
          <p:nvPr>
            <p:ph type="body" sz="quarter" idx="36" hasCustomPrompt="1"/>
          </p:nvPr>
        </p:nvSpPr>
        <p:spPr>
          <a:xfrm flipH="1">
            <a:off x="6616911" y="4570435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F6735F22-7C4A-1644-B7AD-5FD402690406}"/>
              </a:ext>
            </a:extLst>
          </p:cNvPr>
          <p:cNvSpPr>
            <a:spLocks noGrp="1" noChangeAspect="1"/>
          </p:cNvSpPr>
          <p:nvPr>
            <p:ph type="body" sz="quarter" idx="37" hasCustomPrompt="1"/>
          </p:nvPr>
        </p:nvSpPr>
        <p:spPr>
          <a:xfrm flipH="1">
            <a:off x="9035524" y="4570435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537354-16F5-3248-AE41-F4AC25CD97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21256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87113ECF-D558-6343-9EA9-D26C0BEB8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26047793-0769-0F4F-8A1A-EA53AA366F38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0B6606B5-AB41-244D-A481-083D61F996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17172" y="1282414"/>
            <a:ext cx="3945440" cy="687003"/>
          </a:xfrm>
        </p:spPr>
        <p:txBody>
          <a:bodyPr/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7F49F257-122B-1342-A5C8-E06994015C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43441" y="2330970"/>
            <a:ext cx="1352455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CEEB0733-7C4D-AB47-8943-1E66EE3BC7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91042" y="2307806"/>
            <a:ext cx="2471570" cy="687002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9982B6BA-A4F8-604E-8083-EC3893065A6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8367" y="3266323"/>
            <a:ext cx="2471569" cy="687001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EC7FB3EE-55C2-EC45-8B5A-C3E221991D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88370" y="4251824"/>
            <a:ext cx="2471566" cy="6870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1A11A3A2-F7FC-024D-B08B-85CD527C34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85695" y="5210341"/>
            <a:ext cx="2471565" cy="686999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A2D3FFA5-6100-284A-B619-D879ABF148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30431" y="3260977"/>
            <a:ext cx="2468880" cy="6858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E653DCB8-B576-C34D-97FF-79FA7442C8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30433" y="4246477"/>
            <a:ext cx="2468880" cy="6858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63F64038-D074-5446-BD2B-052288BA39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27759" y="5204995"/>
            <a:ext cx="2468880" cy="6858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DA1D93C2-309B-624E-9360-9140E8D3585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527758" y="2307806"/>
            <a:ext cx="2468880" cy="6858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C57D0B18-26B7-2048-8153-4931BC262F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9087" y="3306329"/>
            <a:ext cx="1356810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FFD5E081-880A-584A-871C-1B7B0EB105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52150" y="4265022"/>
            <a:ext cx="1352455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808C7EEA-0A75-084B-9D51-BF243C7BA9C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47796" y="5266507"/>
            <a:ext cx="1356810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A28A7FCF-BB31-0D48-B92E-1C311125427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14654" y="2339679"/>
            <a:ext cx="1352455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F7B5DEFB-876C-3B4E-BCC9-3ADBF8069AB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10300" y="3315038"/>
            <a:ext cx="1356810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810CEB7B-B0A0-E242-B2B0-5EA105AEFB9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23363" y="4273731"/>
            <a:ext cx="1352455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93B58029-A3D2-924F-982D-DB20AC7F6A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19009" y="5275216"/>
            <a:ext cx="1356810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</p:spTree>
    <p:extLst>
      <p:ext uri="{BB962C8B-B14F-4D97-AF65-F5344CB8AC3E}">
        <p14:creationId xmlns:p14="http://schemas.microsoft.com/office/powerpoint/2010/main" val="1936808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6" userDrawn="1">
          <p15:clr>
            <a:srgbClr val="FBAE40"/>
          </p15:clr>
        </p15:guide>
        <p15:guide id="2" orient="horz" pos="2736" userDrawn="1">
          <p15:clr>
            <a:srgbClr val="FBAE40"/>
          </p15:clr>
        </p15:guide>
        <p15:guide id="3" orient="horz" pos="3360" userDrawn="1">
          <p15:clr>
            <a:srgbClr val="FBAE40"/>
          </p15:clr>
        </p15:guide>
        <p15:guide id="4" pos="3912" userDrawn="1">
          <p15:clr>
            <a:srgbClr val="FBAE40"/>
          </p15:clr>
        </p15:guide>
        <p15:guide id="5" pos="1176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83ACD7-27EE-CC48-8599-FA698431291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692119" y="1192260"/>
            <a:ext cx="2199190" cy="3406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dirty="0">
                <a:solidFill>
                  <a:schemeClr val="bg1"/>
                </a:solidFill>
                <a:latin typeface="AmericanSans" panose="02000000000000000000" pitchFamily="2" charset="77"/>
              </a:rPr>
              <a:t>January 1, 20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9DBF10-D40B-2B45-A3F4-D01D83F878D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7587" y="3109596"/>
            <a:ext cx="8621259" cy="966788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Place your 1 line headline here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556B65-B902-E14E-AC89-586208119A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41794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AFD0269-1BB4-1744-AFCC-976472E0AB2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7587" y="3109596"/>
            <a:ext cx="7863613" cy="966788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Place your 2 line headline in this text box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CCDCA-86A5-DC49-8A51-A03C539F5B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58135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D50CE35-6C61-B64F-85CB-F718F83FD368}"/>
              </a:ext>
            </a:extLst>
          </p:cNvPr>
          <p:cNvSpPr/>
          <p:nvPr userDrawn="1"/>
        </p:nvSpPr>
        <p:spPr>
          <a:xfrm>
            <a:off x="5467135" y="3868177"/>
            <a:ext cx="845066" cy="135483"/>
          </a:xfrm>
          <a:prstGeom prst="rect">
            <a:avLst/>
          </a:prstGeom>
          <a:solidFill>
            <a:srgbClr val="CC2C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9B19634-BA82-FD4A-A72D-3C999A778BB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7587" y="2948232"/>
            <a:ext cx="8500107" cy="966788"/>
          </a:xfrm>
        </p:spPr>
        <p:txBody>
          <a:bodyPr>
            <a:normAutofit/>
          </a:bodyPr>
          <a:lstStyle>
            <a:lvl1pPr marL="0" indent="0" algn="ctr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Place your 1 line headlin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F7EAD-95E3-DD4E-8712-16ADC37E47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52259" y="4318906"/>
            <a:ext cx="3852863" cy="62865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your subtitl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FFC095-B473-4B43-A248-C5B95CC14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66294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83ACD7-27EE-CC48-8599-FA698431291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692119" y="1192260"/>
            <a:ext cx="2199190" cy="3406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dirty="0">
                <a:solidFill>
                  <a:schemeClr val="bg1"/>
                </a:solidFill>
                <a:latin typeface="AmericanSans" panose="02000000000000000000" pitchFamily="2" charset="77"/>
              </a:rPr>
              <a:t>January 1, 202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BF77620-DD25-904E-A8B8-CF3DB84AD8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7800" y="267209"/>
            <a:ext cx="11093090" cy="687003"/>
          </a:xfrm>
        </p:spPr>
        <p:txBody>
          <a:bodyPr/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8EB9E7-2746-BA42-8733-B0F969B59181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537354-16F5-3248-AE41-F4AC25CD97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240ED3CC-6C65-DD4C-961E-07451F8A3D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8260" y="1027832"/>
            <a:ext cx="11092630" cy="5215652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21821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8F9F7A6-7AA4-5A41-B7B7-BFC8BEA57D63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DED7CE-B331-EE4A-A43D-EA9B18B450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501" y="383168"/>
            <a:ext cx="11302538" cy="1069047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List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0C73654-0070-4E4C-87EF-F5D515FE3D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01" y="1532153"/>
            <a:ext cx="5547499" cy="3793694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lvl="0"/>
            <a:endParaRPr lang="en-US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FB29E677-4029-4646-9D22-5BDE01105D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9373" y="1535873"/>
            <a:ext cx="5681666" cy="3793694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CD61CB1-E8EE-D34B-B824-1A9FC94EAA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38862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 w/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ED177B9-7F74-AE42-96B5-BE7F7EB331B7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latin typeface="AmericanSans" panose="02000000000000000000" pitchFamily="2" charset="77"/>
              </a:rPr>
              <a:t>‹#›</a:t>
            </a:fld>
            <a:endParaRPr lang="en-US" sz="900" b="0" i="1" dirty="0">
              <a:latin typeface="AmericanSans" panose="02000000000000000000" pitchFamily="2" charset="77"/>
            </a:endParaRP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07DAC6FE-5804-7D49-BC1D-386FF610C4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592" y="1537798"/>
            <a:ext cx="5550408" cy="379476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 sz="1400">
                <a:solidFill>
                  <a:schemeClr val="bg2">
                    <a:lumMod val="25000"/>
                  </a:schemeClr>
                </a:solidFill>
              </a:defRPr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Place a small paragraph or bulleted list here</a:t>
            </a:r>
          </a:p>
          <a:p>
            <a:pPr lvl="1"/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lvl="0"/>
            <a:endParaRPr lang="en-US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4B8872A-CDBE-1345-8678-CB5FFF3F99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00631" y="1531620"/>
            <a:ext cx="5550408" cy="379476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 sz="1400">
                <a:solidFill>
                  <a:schemeClr val="bg2">
                    <a:lumMod val="25000"/>
                  </a:schemeClr>
                </a:solidFill>
              </a:defRPr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Place a small paragraph or bulleted list here</a:t>
            </a:r>
          </a:p>
          <a:p>
            <a:pPr lvl="1"/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EF6444-6593-D849-9CC6-0F467DA64F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5050340-2CE7-A542-B014-72A1DAF251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501" y="383168"/>
            <a:ext cx="11302538" cy="1069047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List w/ Sub Bullet Title Here</a:t>
            </a:r>
          </a:p>
        </p:txBody>
      </p:sp>
    </p:spTree>
    <p:extLst>
      <p:ext uri="{BB962C8B-B14F-4D97-AF65-F5344CB8AC3E}">
        <p14:creationId xmlns:p14="http://schemas.microsoft.com/office/powerpoint/2010/main" val="119417943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0266A63-AF82-A54D-AD59-287EBF19D5C5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E7E2350-675A-2347-BA3D-85B9C17902B0}"/>
              </a:ext>
            </a:extLst>
          </p:cNvPr>
          <p:cNvSpPr/>
          <p:nvPr userDrawn="1"/>
        </p:nvSpPr>
        <p:spPr>
          <a:xfrm>
            <a:off x="5673467" y="4385486"/>
            <a:ext cx="845066" cy="135483"/>
          </a:xfrm>
          <a:prstGeom prst="rect">
            <a:avLst/>
          </a:prstGeom>
          <a:solidFill>
            <a:srgbClr val="CC2C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2E483C-6704-BA46-9A94-5D6498858B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6803" y="2594714"/>
            <a:ext cx="9399551" cy="1637045"/>
          </a:xfrm>
        </p:spPr>
        <p:txBody>
          <a:bodyPr>
            <a:normAutofit/>
          </a:bodyPr>
          <a:lstStyle>
            <a:lvl1pPr marL="0" indent="0" algn="ctr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Add a quote or statement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6E856D3-0100-CC40-B89C-001706D326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9169" y="4996786"/>
            <a:ext cx="2042116" cy="489615"/>
          </a:xfrm>
        </p:spPr>
        <p:txBody>
          <a:bodyPr>
            <a:normAutofit/>
          </a:bodyPr>
          <a:lstStyle>
            <a:lvl1pPr marL="0" indent="0" algn="ctr">
              <a:buNone/>
              <a:defRPr sz="1600" i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erson, Loc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EADCFF8-DF09-474E-834E-02246A7537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5134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0266A63-AF82-A54D-AD59-287EBF19D5C5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E7E2350-675A-2347-BA3D-85B9C17902B0}"/>
              </a:ext>
            </a:extLst>
          </p:cNvPr>
          <p:cNvSpPr/>
          <p:nvPr userDrawn="1"/>
        </p:nvSpPr>
        <p:spPr>
          <a:xfrm>
            <a:off x="5673467" y="4385486"/>
            <a:ext cx="845066" cy="135483"/>
          </a:xfrm>
          <a:prstGeom prst="rect">
            <a:avLst/>
          </a:prstGeom>
          <a:solidFill>
            <a:srgbClr val="CC2C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2E483C-6704-BA46-9A94-5D6498858B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6803" y="2594714"/>
            <a:ext cx="9399551" cy="1637045"/>
          </a:xfrm>
        </p:spPr>
        <p:txBody>
          <a:bodyPr>
            <a:normAutofit/>
          </a:bodyPr>
          <a:lstStyle>
            <a:lvl1pPr marL="0" indent="0" algn="ctr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Add a quote or statement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6E856D3-0100-CC40-B89C-001706D326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9169" y="4996786"/>
            <a:ext cx="2042116" cy="489615"/>
          </a:xfrm>
        </p:spPr>
        <p:txBody>
          <a:bodyPr>
            <a:normAutofit/>
          </a:bodyPr>
          <a:lstStyle>
            <a:lvl1pPr marL="0" indent="0" algn="ctr">
              <a:buNone/>
              <a:defRPr sz="1600" i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erson, Loc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EADCFF8-DF09-474E-834E-02246A7537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73362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8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1"/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1"/>
              </a:solidFill>
              <a:latin typeface="AmericanSans" panose="02000000000000000000" pitchFamily="2" charset="77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E36764-0534-2A47-82F4-4BDF7F536F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3"/>
            <a:ext cx="1717172" cy="151326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9F2229-3BB3-5B40-B594-7333C1D602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bg1"/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Titl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26A74E-928A-FD4C-AE46-D87AA08387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Subtitle of Chapter</a:t>
            </a:r>
          </a:p>
        </p:txBody>
      </p:sp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93FA8C5-039A-7644-9B2E-705948643FD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74522" y="352059"/>
            <a:ext cx="2523744" cy="38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57198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64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E36764-0534-2A47-82F4-4BDF7F536F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3"/>
            <a:ext cx="1717172" cy="1513268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0BE2F8C-B1A3-CF4E-9066-C53543290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bg1"/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Title Slid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F9DE030-94BF-D441-8721-FE7CE58D89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Subtitle of Chapt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1"/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1"/>
              </a:solidFill>
              <a:latin typeface="AmericanSans" panose="02000000000000000000" pitchFamily="2" charset="77"/>
            </a:endParaRP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21E97B5-842C-734F-8924-EFC42A141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74522" y="352059"/>
            <a:ext cx="2523744" cy="38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60545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E36764-0534-2A47-82F4-4BDF7F536F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3"/>
            <a:ext cx="1717172" cy="1513268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A56D760-6A6D-2D4A-B736-180C25F107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bg1"/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Title Slid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9FB0631-5DFF-C64B-B50F-F194E6DCAB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Subtitle of Chapt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1"/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1"/>
              </a:solidFill>
              <a:latin typeface="AmericanSans" panose="02000000000000000000" pitchFamily="2" charset="77"/>
            </a:endParaRP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6F32039-DE43-FF41-AE69-E1C6C4F9A87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74522" y="352059"/>
            <a:ext cx="2523744" cy="38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35363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206288" cy="6858000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E36764-0534-2A47-82F4-4BDF7F536F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2"/>
            <a:ext cx="1717172" cy="1513268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7197A2B-82EF-D446-97EB-31E7ABDCF2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Title Slid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6D60169-88F9-5F41-9277-6A1728CE1C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</a:t>
            </a:r>
            <a:r>
              <a:rPr lang="en-US" sz="160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Subtitle of Chapter </a:t>
            </a:r>
            <a:endParaRPr lang="en-US" sz="1600">
              <a:solidFill>
                <a:schemeClr val="bg1"/>
              </a:solidFill>
              <a:latin typeface="AmericanSans" panose="02000000000000000000" pitchFamily="2" charset="7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DCCBA55-F9F7-644E-989E-DD72C4C4660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74522" y="352060"/>
            <a:ext cx="2523744" cy="38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47883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AWWF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121CD04-857D-E34C-A6E8-89D6034152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089900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B06A1E2-D1D7-0E41-A56B-C644581637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5524" y="3054413"/>
            <a:ext cx="3251009" cy="7491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33BD216-B2DB-EB49-8605-77A3F9427248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45E434-6BDA-F24A-9FEE-F8BEFBF117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4697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saic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30837D-51E8-D941-9B28-2A1B419AF4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00125" y="828675"/>
            <a:ext cx="5351463" cy="288925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52B38A5-E887-014F-B3C4-52A019C55F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86525" y="817563"/>
            <a:ext cx="4730750" cy="51689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C2D697F-C740-9144-BDED-A90B9E55999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87425" y="3829050"/>
            <a:ext cx="5353050" cy="2170113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B8462B-C61B-934B-97FD-DCB9E336B0BA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3BF87C-E082-0745-9FF4-7565CE6D13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88243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mage w/ Body Cop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55AD354-806A-4544-A952-1DADB10B67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14950" y="0"/>
            <a:ext cx="4097338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10A681-27D7-A546-9928-07C6AE026D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969" y="3096133"/>
            <a:ext cx="4402138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3583A44-0D84-1E4A-BCA7-FC3D0FD098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163" y="3901439"/>
            <a:ext cx="4144962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5AF709E-BCA9-C940-A539-5F888E70F8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607137" y="3460073"/>
            <a:ext cx="2298824" cy="2964478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6FD2699-2BAC-7A4A-A614-51B4A1CB1B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288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Image w/ Body Cop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44734A-C7F8-5544-B6AA-25FAEA370BF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8107363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0F5290-F8A5-E349-9CD3-E43011A034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09573" y="2608326"/>
            <a:ext cx="3158171" cy="1390650"/>
          </a:xfr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Picture Title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3A8D03-2BAC-5541-A923-E6E9EB430B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34654" y="4047681"/>
            <a:ext cx="3522663" cy="158432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8299A7-F266-464C-A9C2-A273D5581D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4633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/3 Image w/ Body Cop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44734A-C7F8-5544-B6AA-25FAEA370BF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2709" y="0"/>
            <a:ext cx="8107363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A8E2A2F-BF30-4647-8E4E-767DDCA3B1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7969" y="3096133"/>
            <a:ext cx="3307642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CFAE2B4-3795-4142-8DC4-4D3AF0C34B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163" y="3901439"/>
            <a:ext cx="3205071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AA990C0-6C96-4D4B-8D09-C6A0CA9F99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97076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Image w/ Body Copy Left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0F66054-0B17-A140-A55C-7E5A7E3E477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24613" y="3108198"/>
            <a:ext cx="4218875" cy="902907"/>
          </a:xfr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Picture Title</a:t>
            </a:r>
            <a:endParaRPr lang="en-US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25A0539-B78E-C749-B676-89656F4125E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49694" y="4011105"/>
            <a:ext cx="3522663" cy="158432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29CDA2-8874-6C4E-B312-259561EC792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0"/>
            <a:ext cx="6108700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05BBC8-8583-C04F-A4FF-8C06AE9D08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9779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8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1"/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1"/>
              </a:solidFill>
              <a:latin typeface="AmericanSans" panose="02000000000000000000" pitchFamily="2" charset="77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E36764-0534-2A47-82F4-4BDF7F536F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3"/>
            <a:ext cx="1717172" cy="151326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9F2229-3BB3-5B40-B594-7333C1D602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bg1"/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Titl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26A74E-928A-FD4C-AE46-D87AA08387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Subtitle of Chapter</a:t>
            </a:r>
          </a:p>
        </p:txBody>
      </p:sp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93FA8C5-039A-7644-9B2E-705948643F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4522" y="352059"/>
            <a:ext cx="2523744" cy="38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76756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Top w/ Body Copy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3DE534F-87A0-624A-866F-649E420E4D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35749" y="4620006"/>
            <a:ext cx="4718747" cy="720090"/>
          </a:xfr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Picture Title</a:t>
            </a:r>
            <a:endParaRPr lang="en-US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3D5CAC0-334C-2F4E-80F2-C55ACF1953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60830" y="5327841"/>
            <a:ext cx="4697466" cy="977956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3DEF3A-B4D0-5D40-9695-87FF02B91FE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0"/>
            <a:ext cx="12192000" cy="412115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ADA9B79-2FA6-A34D-9045-78490B77C47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92108" y="4660842"/>
            <a:ext cx="4960702" cy="158557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54A7B3A-46D3-7B4B-8549-EB4B66F15C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06742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in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3DEF3A-B4D0-5D40-9695-87FF02B91FE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1158117"/>
            <a:ext cx="12192000" cy="412115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528475-5325-2D4F-A674-B8D2E74665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84644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EE4F6E5-172A-3245-84BD-FFCCE740CD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95388" y="292100"/>
            <a:ext cx="10045700" cy="6230938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56BABA-5D2B-AC47-A96B-B6FD438261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95069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53059155-DD42-154D-B9E7-E8925485768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106904" y="963460"/>
            <a:ext cx="3110427" cy="5100456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2713CE83-68EB-DF40-AD31-DE2243FB932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8879" y="963460"/>
            <a:ext cx="3108960" cy="51023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3AB530D-1229-A34B-838F-AD318CFC30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9387" y="965071"/>
            <a:ext cx="3108960" cy="51023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3D9C99-8EB7-DD40-9022-221B1B7DEE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06667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0EFFF4E8-B865-3644-88C4-013CEA6CDFB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950107" y="1789910"/>
            <a:ext cx="2584175" cy="34159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486C5F1D-6DA2-9541-8AFD-BB4A68C9BF5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95389" y="1789910"/>
            <a:ext cx="2584175" cy="34159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37466E48-6004-664E-8E7D-665770A7502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40672" y="1789910"/>
            <a:ext cx="2584175" cy="34159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E1DE458-C898-2E47-8F35-C043D66955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5954" y="1789910"/>
            <a:ext cx="2584175" cy="34159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9219FCE-EC1E-E049-8D82-ED2A38410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57863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 Screen Image w/ Body Cop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F7F630-17F4-6543-8ECD-44C4D95378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3944" y="1022732"/>
            <a:ext cx="7638056" cy="5147109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F6F9702-5923-BD4E-8DDB-45964A07B2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969" y="2462149"/>
            <a:ext cx="4402138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A21152A-0C25-3643-B766-DB829FB5C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163" y="3267455"/>
            <a:ext cx="4389437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F7C2D6A-EB6A-934D-8849-AC5310D8552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081713" y="1722438"/>
            <a:ext cx="4603750" cy="26162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34FFE22-9EE2-5346-93B0-DFF64541A7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28568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Screen Image w/ Body Copy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C7113D3-5477-9949-AB38-24561C627D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6549" y="1006090"/>
            <a:ext cx="2675164" cy="4845819"/>
          </a:xfrm>
          <a:prstGeom prst="rect">
            <a:avLst/>
          </a:prstGeom>
          <a:effectLst>
            <a:reflection stA="23000" endPos="10000" dir="5400000" sy="-100000" algn="bl" rotWithShape="0"/>
          </a:effectLst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FD4329C-A3A7-934A-B6BC-79F3C228E6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969" y="2462149"/>
            <a:ext cx="4402138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2F74A6B-2C59-C141-A1E8-39B60CA7C7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163" y="3267455"/>
            <a:ext cx="4389437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6360DB4-B710-F840-97BD-56F986CD02D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7421563" y="1616074"/>
            <a:ext cx="2041525" cy="3636409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BAADBE-A9DA-DC40-9187-0EE293BB7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45205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Screen Image w/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FD4329C-A3A7-934A-B6BC-79F3C228E6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969" y="2462149"/>
            <a:ext cx="4402138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2F74A6B-2C59-C141-A1E8-39B60CA7C7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163" y="3267455"/>
            <a:ext cx="4389437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BAADBE-A9DA-DC40-9187-0EE293BB7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F4BB097-01F7-9848-A2FD-D747F9E72D5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9227" y="263258"/>
            <a:ext cx="4261373" cy="6285740"/>
          </a:xfrm>
          <a:prstGeom prst="rect">
            <a:avLst/>
          </a:prstGeom>
          <a:effectLst>
            <a:reflection blurRad="6350" stA="23000" endPos="10000" dir="5400000" sy="-100000" algn="bl" rotWithShape="0"/>
          </a:effectLst>
        </p:spPr>
      </p:pic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2EB935E5-A45B-9047-BABB-260069AB35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772060" y="935026"/>
            <a:ext cx="3705240" cy="4912415"/>
          </a:xfrm>
          <a:custGeom>
            <a:avLst/>
            <a:gdLst>
              <a:gd name="connsiteX0" fmla="*/ 0 w 2820838"/>
              <a:gd name="connsiteY0" fmla="*/ 0 h 3735238"/>
              <a:gd name="connsiteX1" fmla="*/ 2820838 w 2820838"/>
              <a:gd name="connsiteY1" fmla="*/ 0 h 3735238"/>
              <a:gd name="connsiteX2" fmla="*/ 2820838 w 2820838"/>
              <a:gd name="connsiteY2" fmla="*/ 3735238 h 3735238"/>
              <a:gd name="connsiteX3" fmla="*/ 0 w 2820838"/>
              <a:gd name="connsiteY3" fmla="*/ 3735238 h 373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20838" h="3735238">
                <a:moveTo>
                  <a:pt x="0" y="0"/>
                </a:moveTo>
                <a:lnTo>
                  <a:pt x="2820838" y="0"/>
                </a:lnTo>
                <a:lnTo>
                  <a:pt x="2820838" y="3735238"/>
                </a:lnTo>
                <a:lnTo>
                  <a:pt x="0" y="3735238"/>
                </a:ln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>
                <a:alpha val="81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0327293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and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EAD816-52FA-444F-ACC3-C06C773E8E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C1D9757-D430-324B-B9A3-CB630C2884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5535" y="-743619"/>
            <a:ext cx="8345237" cy="8345237"/>
          </a:xfrm>
          <a:prstGeom prst="rect">
            <a:avLst/>
          </a:prstGeom>
        </p:spPr>
      </p:pic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D9E87076-ED09-C74F-B234-90F536C1BA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28026" y="762584"/>
            <a:ext cx="7509753" cy="4226492"/>
          </a:xfrm>
          <a:custGeom>
            <a:avLst/>
            <a:gdLst>
              <a:gd name="connsiteX0" fmla="*/ 0 w 4839419"/>
              <a:gd name="connsiteY0" fmla="*/ 0 h 2777706"/>
              <a:gd name="connsiteX1" fmla="*/ 4839419 w 4839419"/>
              <a:gd name="connsiteY1" fmla="*/ 0 h 2777706"/>
              <a:gd name="connsiteX2" fmla="*/ 4839419 w 4839419"/>
              <a:gd name="connsiteY2" fmla="*/ 2777706 h 2777706"/>
              <a:gd name="connsiteX3" fmla="*/ 0 w 4839419"/>
              <a:gd name="connsiteY3" fmla="*/ 2777706 h 2777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39419" h="2777706">
                <a:moveTo>
                  <a:pt x="0" y="0"/>
                </a:moveTo>
                <a:lnTo>
                  <a:pt x="4839419" y="0"/>
                </a:lnTo>
                <a:lnTo>
                  <a:pt x="4839419" y="2777706"/>
                </a:lnTo>
                <a:lnTo>
                  <a:pt x="0" y="2777706"/>
                </a:ln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25400">
              <a:prstClr val="black">
                <a:alpha val="58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F41D199-27D1-ED41-B44B-16823471D60C}"/>
              </a:ext>
            </a:extLst>
          </p:cNvPr>
          <p:cNvGrpSpPr/>
          <p:nvPr userDrawn="1"/>
        </p:nvGrpSpPr>
        <p:grpSpPr>
          <a:xfrm>
            <a:off x="205701" y="436764"/>
            <a:ext cx="3343315" cy="6026498"/>
            <a:chOff x="7871044" y="199745"/>
            <a:chExt cx="3670329" cy="661595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016A417-8E35-674B-9522-03F52D4261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6DF42CE-8610-2C40-835F-C026A6482132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FB06323-1077-1343-8951-4F9C8E6FF64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39205" y="575627"/>
            <a:ext cx="2755874" cy="5390145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073994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</p:bld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EAD816-52FA-444F-ACC3-C06C773E8E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B8895BBD-FB6C-FC49-8CB2-9C2E2057777B}"/>
              </a:ext>
            </a:extLst>
          </p:cNvPr>
          <p:cNvGrpSpPr/>
          <p:nvPr userDrawn="1"/>
        </p:nvGrpSpPr>
        <p:grpSpPr>
          <a:xfrm>
            <a:off x="0" y="663625"/>
            <a:ext cx="3180877" cy="5733695"/>
            <a:chOff x="7871044" y="199745"/>
            <a:chExt cx="3670329" cy="6615958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0E22972-1B56-1F43-8707-BB055B85F1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9C70B68D-C821-4941-95B9-7ED1D3555D4D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9F519B3-C9BD-6C4E-B9A4-BD54F4B4F59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32743" y="794980"/>
            <a:ext cx="2560630" cy="5057980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210E530-B44C-3E41-928F-DF042440DEF7}"/>
              </a:ext>
            </a:extLst>
          </p:cNvPr>
          <p:cNvGrpSpPr/>
          <p:nvPr userDrawn="1"/>
        </p:nvGrpSpPr>
        <p:grpSpPr>
          <a:xfrm>
            <a:off x="2976880" y="663625"/>
            <a:ext cx="3180877" cy="5733695"/>
            <a:chOff x="7871044" y="199745"/>
            <a:chExt cx="3670329" cy="6615958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C8B8BF5-E214-9E4A-BA73-00B5226196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E89A5EFE-5F6C-884E-9B32-661E054CBE17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87214D4E-0F1A-624A-A09C-211D22FB8100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3409623" y="794980"/>
            <a:ext cx="2560630" cy="5057980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9708C2D-AE97-A94C-A8CD-7DE61A848106}"/>
              </a:ext>
            </a:extLst>
          </p:cNvPr>
          <p:cNvGrpSpPr/>
          <p:nvPr userDrawn="1"/>
        </p:nvGrpSpPr>
        <p:grpSpPr>
          <a:xfrm>
            <a:off x="5974080" y="663625"/>
            <a:ext cx="3180877" cy="5733695"/>
            <a:chOff x="7871044" y="199745"/>
            <a:chExt cx="3670329" cy="6615958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4440BAAD-BF7C-4345-A3B8-5D49B3F587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E263B2E2-79F5-6C44-B7E1-B442C2A3E9B2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2DEF7FB6-832E-5343-A125-9E08021A7118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406823" y="794980"/>
            <a:ext cx="2560630" cy="5057980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3E3F472-D6B5-5A4D-A7F5-8B22745006A6}"/>
              </a:ext>
            </a:extLst>
          </p:cNvPr>
          <p:cNvGrpSpPr/>
          <p:nvPr userDrawn="1"/>
        </p:nvGrpSpPr>
        <p:grpSpPr>
          <a:xfrm>
            <a:off x="8950960" y="663625"/>
            <a:ext cx="3180877" cy="5733695"/>
            <a:chOff x="7871044" y="199745"/>
            <a:chExt cx="3670329" cy="6615958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8DBED865-23BD-1443-AC36-5FC2B90658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DB7B73D-89AE-A14A-B3EC-231DFDA1DC4D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80E299BD-ED3C-4043-8755-E6135E725CB8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9383703" y="794980"/>
            <a:ext cx="2560630" cy="5057980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36954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3" grpId="0" animBg="1"/>
      <p:bldP spid="27" grpId="0" animBg="1"/>
      <p:bldP spid="31" grpId="0" animBg="1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64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E36764-0534-2A47-82F4-4BDF7F536F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3"/>
            <a:ext cx="1717172" cy="1513268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0BE2F8C-B1A3-CF4E-9066-C53543290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bg1"/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Title Slid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F9DE030-94BF-D441-8721-FE7CE58D89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Subtitle of Chapt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1"/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1"/>
              </a:solidFill>
              <a:latin typeface="AmericanSans" panose="02000000000000000000" pitchFamily="2" charset="77"/>
            </a:endParaRP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21E97B5-842C-734F-8924-EFC42A141B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4522" y="352059"/>
            <a:ext cx="2523744" cy="38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63470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/Grap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D337B06-23DB-184A-A321-4AB2B99FB1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31653" y="2620645"/>
            <a:ext cx="3554839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45F63A0-E3DF-344B-9955-922C141F50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33146" y="4047275"/>
            <a:ext cx="3541623" cy="117157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chart here. 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3FB88286-CE9A-1A48-8D87-5B193BD14EF5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72990" y="480036"/>
            <a:ext cx="6870700" cy="57451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chart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AF94283-B4C9-A947-AB73-CC28F1CAF4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50485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lationship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D337B06-23DB-184A-A321-4AB2B99FB1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485505" y="2620645"/>
            <a:ext cx="3600987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Relationship Chart 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45F63A0-E3DF-344B-9955-922C141F50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33146" y="4047275"/>
            <a:ext cx="3541623" cy="117157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chart here.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C90C349-4936-854C-8D33-4042AA00B5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5" name="Chart Placeholder 2">
            <a:extLst>
              <a:ext uri="{FF2B5EF4-FFF2-40B4-BE49-F238E27FC236}">
                <a16:creationId xmlns:a16="http://schemas.microsoft.com/office/drawing/2014/main" id="{0D3A9251-8DDE-5645-A5E6-05252027CB67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72990" y="480036"/>
            <a:ext cx="6473384" cy="58421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18712994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lationship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7" name="Chart Placeholder 2">
            <a:extLst>
              <a:ext uri="{FF2B5EF4-FFF2-40B4-BE49-F238E27FC236}">
                <a16:creationId xmlns:a16="http://schemas.microsoft.com/office/drawing/2014/main" id="{EE9D8C2D-6009-E241-927E-DCA448CE1551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72990" y="480036"/>
            <a:ext cx="10614480" cy="294896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BF8A4BB-0757-614E-976B-F8370CA8D2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17172" y="4450192"/>
            <a:ext cx="7369678" cy="726945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Relationship Chart 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CE3D7CF9-B30F-F746-9371-4D19F57D37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17172" y="5377099"/>
            <a:ext cx="4378828" cy="1162922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Place a small paragraph regarding the chart here. This text box can also be deleted. Place a small paragraph regarding the chart here. 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D8D86B0-B7DA-FB4B-800C-8AF0E1E9EE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75079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B33CF1-3C03-5F41-AA7B-6C8052D1D6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01" y="1510687"/>
            <a:ext cx="11302538" cy="4386322"/>
          </a:xfrm>
        </p:spPr>
        <p:txBody>
          <a:bodyPr numCol="2">
            <a:normAutofit/>
          </a:bodyPr>
          <a:lstStyle>
            <a:lvl1pPr marL="0" indent="0" fontAlgn="base">
              <a:lnSpc>
                <a:spcPct val="10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copy here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792745-7FC8-5649-A0BD-61F54CC2FA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8DE1917-5CD2-5B4E-AFD4-DEEBF6D409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65344961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B33CF1-3C03-5F41-AA7B-6C8052D1D6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01" y="1559847"/>
            <a:ext cx="11302538" cy="4386322"/>
          </a:xfrm>
        </p:spPr>
        <p:txBody>
          <a:bodyPr numCol="2">
            <a:normAutofit/>
          </a:bodyPr>
          <a:lstStyle>
            <a:lvl1pPr marL="0" indent="0" fontAlgn="base">
              <a:lnSpc>
                <a:spcPct val="10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copy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792745-7FC8-5649-A0BD-61F54CC2FA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8DE1917-5CD2-5B4E-AFD4-DEEBF6D409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9"/>
            <a:ext cx="11302538" cy="68854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0FDA0F4-EA82-F640-8DF1-4719D584C1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501" y="1142768"/>
            <a:ext cx="11302538" cy="407767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Subhead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41702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EAD816-52FA-444F-ACC3-C06C773E8E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75481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D492F5-E776-EF48-8AE7-7A489C3E26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A7BD07-FE97-3547-B6B1-C88A10DAA7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501" y="1622323"/>
            <a:ext cx="11302538" cy="4333158"/>
          </a:xfrm>
        </p:spPr>
        <p:txBody>
          <a:bodyPr>
            <a:normAutofit/>
          </a:bodyPr>
          <a:lstStyle>
            <a:lvl1pPr>
              <a:defRPr sz="1800" b="0" i="0">
                <a:latin typeface="AmericanSans" panose="02000000000000000000" pitchFamily="2" charset="77"/>
              </a:defRPr>
            </a:lvl1pPr>
            <a:lvl2pPr>
              <a:defRPr sz="1600" b="0" i="0">
                <a:latin typeface="AmericanSans" panose="02000000000000000000" pitchFamily="2" charset="77"/>
              </a:defRPr>
            </a:lvl2pPr>
            <a:lvl3pPr>
              <a:defRPr sz="1600" b="0" i="0">
                <a:latin typeface="AmericanSans" panose="02000000000000000000" pitchFamily="2" charset="77"/>
              </a:defRPr>
            </a:lvl3pPr>
            <a:lvl4pPr>
              <a:defRPr sz="1600" b="0" i="0">
                <a:latin typeface="AmericanSans" panose="02000000000000000000" pitchFamily="2" charset="77"/>
              </a:defRPr>
            </a:lvl4pPr>
            <a:lvl5pPr>
              <a:defRPr sz="1600" b="0" i="0"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6440EED-D5E3-2B49-B0FA-F9A73048EE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948355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 userDrawn="1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FLIGHT SYMBOL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A7BD07-FE97-3547-B6B1-C88A10DAA7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501" y="1622323"/>
            <a:ext cx="11302538" cy="4333158"/>
          </a:xfrm>
        </p:spPr>
        <p:txBody>
          <a:bodyPr>
            <a:normAutofit/>
          </a:bodyPr>
          <a:lstStyle>
            <a:lvl1pPr>
              <a:defRPr sz="1800" b="0" i="0">
                <a:latin typeface="AmericanSans" panose="02000000000000000000" pitchFamily="2" charset="77"/>
              </a:defRPr>
            </a:lvl1pPr>
            <a:lvl2pPr>
              <a:defRPr sz="1600" b="0" i="0">
                <a:latin typeface="AmericanSans" panose="02000000000000000000" pitchFamily="2" charset="77"/>
              </a:defRPr>
            </a:lvl2pPr>
            <a:lvl3pPr>
              <a:defRPr sz="1600" b="0" i="0">
                <a:latin typeface="AmericanSans" panose="02000000000000000000" pitchFamily="2" charset="77"/>
              </a:defRPr>
            </a:lvl3pPr>
            <a:lvl4pPr>
              <a:defRPr sz="1600" b="0" i="0">
                <a:latin typeface="AmericanSans" panose="02000000000000000000" pitchFamily="2" charset="77"/>
              </a:defRPr>
            </a:lvl4pPr>
            <a:lvl5pPr>
              <a:defRPr sz="1600" b="0" i="0"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6440EED-D5E3-2B49-B0FA-F9A73048EE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001929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 userDrawn="1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D492F5-E776-EF48-8AE7-7A489C3E26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A7BD07-FE97-3547-B6B1-C88A10DAA7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501" y="1622323"/>
            <a:ext cx="11302538" cy="4333158"/>
          </a:xfrm>
        </p:spPr>
        <p:txBody>
          <a:bodyPr>
            <a:normAutofit/>
          </a:bodyPr>
          <a:lstStyle>
            <a:lvl1pPr>
              <a:defRPr sz="1800" b="0" i="0">
                <a:latin typeface="AmericanSans" panose="02000000000000000000" pitchFamily="2" charset="77"/>
              </a:defRPr>
            </a:lvl1pPr>
            <a:lvl2pPr>
              <a:defRPr sz="1600" b="0" i="0">
                <a:latin typeface="AmericanSans" panose="02000000000000000000" pitchFamily="2" charset="77"/>
              </a:defRPr>
            </a:lvl2pPr>
            <a:lvl3pPr>
              <a:defRPr sz="1600" b="0" i="0">
                <a:latin typeface="AmericanSans" panose="02000000000000000000" pitchFamily="2" charset="77"/>
              </a:defRPr>
            </a:lvl3pPr>
            <a:lvl4pPr>
              <a:defRPr sz="1600" b="0" i="0">
                <a:latin typeface="AmericanSans" panose="02000000000000000000" pitchFamily="2" charset="77"/>
              </a:defRPr>
            </a:lvl4pPr>
            <a:lvl5pPr>
              <a:defRPr sz="1600" b="0" i="0"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503B4C7-4CA0-6F41-8108-5C3DAE181E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9"/>
            <a:ext cx="11302538" cy="68854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1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35B2DA6-6F3A-3844-9446-A57BEFC630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501" y="1142768"/>
            <a:ext cx="11302538" cy="407767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Subhead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734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 userDrawn="1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FLIGHT SYMBOL_Title, Subhead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A7BD07-FE97-3547-B6B1-C88A10DAA7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501" y="1622323"/>
            <a:ext cx="11302538" cy="4333158"/>
          </a:xfrm>
        </p:spPr>
        <p:txBody>
          <a:bodyPr>
            <a:normAutofit/>
          </a:bodyPr>
          <a:lstStyle>
            <a:lvl1pPr>
              <a:defRPr sz="1800" b="0" i="0">
                <a:latin typeface="AmericanSans" panose="02000000000000000000" pitchFamily="2" charset="77"/>
              </a:defRPr>
            </a:lvl1pPr>
            <a:lvl2pPr>
              <a:defRPr sz="1600" b="0" i="0">
                <a:latin typeface="AmericanSans" panose="02000000000000000000" pitchFamily="2" charset="77"/>
              </a:defRPr>
            </a:lvl2pPr>
            <a:lvl3pPr>
              <a:defRPr sz="1600" b="0" i="0">
                <a:latin typeface="AmericanSans" panose="02000000000000000000" pitchFamily="2" charset="77"/>
              </a:defRPr>
            </a:lvl3pPr>
            <a:lvl4pPr>
              <a:defRPr sz="1600" b="0" i="0">
                <a:latin typeface="AmericanSans" panose="02000000000000000000" pitchFamily="2" charset="77"/>
              </a:defRPr>
            </a:lvl4pPr>
            <a:lvl5pPr>
              <a:defRPr sz="1600" b="0" i="0"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503B4C7-4CA0-6F41-8108-5C3DAE181E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9"/>
            <a:ext cx="11302538" cy="688548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1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35B2DA6-6F3A-3844-9446-A57BEFC630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501" y="1142768"/>
            <a:ext cx="11302538" cy="407767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Subhead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905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E36764-0534-2A47-82F4-4BDF7F536F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3"/>
            <a:ext cx="1717172" cy="1513268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A56D760-6A6D-2D4A-B736-180C25F107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bg1"/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hapter Title Slid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9FB0631-5DFF-C64B-B50F-F194E6DCAB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Subtitle of Chapt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1"/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1"/>
              </a:solidFill>
              <a:latin typeface="AmericanSans" panose="02000000000000000000" pitchFamily="2" charset="77"/>
            </a:endParaRP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6F32039-DE43-FF41-AE69-E1C6C4F9A8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4522" y="352059"/>
            <a:ext cx="2523744" cy="38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12229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DF0D2A-0B3F-6946-8EF7-37C389D006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23660" y="1277327"/>
            <a:ext cx="8405078" cy="1219200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D492F5-E776-EF48-8AE7-7A489C3E26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E18CAF6-CF1F-4F48-A6F6-9A91F7BCADC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723660" y="2794000"/>
            <a:ext cx="9211040" cy="3161480"/>
          </a:xfrm>
        </p:spPr>
        <p:txBody>
          <a:bodyPr>
            <a:normAutofit/>
          </a:bodyPr>
          <a:lstStyle>
            <a:lvl1pPr>
              <a:defRPr sz="1800" b="0" i="0">
                <a:latin typeface="AmericanSans" panose="02000000000000000000" pitchFamily="2" charset="77"/>
              </a:defRPr>
            </a:lvl1pPr>
            <a:lvl2pPr>
              <a:defRPr sz="1600" b="0" i="0">
                <a:latin typeface="AmericanSans" panose="02000000000000000000" pitchFamily="2" charset="77"/>
              </a:defRPr>
            </a:lvl2pPr>
            <a:lvl3pPr>
              <a:defRPr sz="1600" b="0" i="0">
                <a:latin typeface="AmericanSans" panose="02000000000000000000" pitchFamily="2" charset="77"/>
              </a:defRPr>
            </a:lvl3pPr>
            <a:lvl4pPr>
              <a:defRPr sz="1600" b="0" i="0">
                <a:latin typeface="AmericanSans" panose="02000000000000000000" pitchFamily="2" charset="77"/>
              </a:defRPr>
            </a:lvl4pPr>
            <a:lvl5pPr>
              <a:defRPr sz="1600" b="0" i="0"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2014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 userDrawn="1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ject Mapp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4EDFB4D-447D-D243-980F-88E1ABB0D997}"/>
              </a:ext>
            </a:extLst>
          </p:cNvPr>
          <p:cNvSpPr/>
          <p:nvPr userDrawn="1"/>
        </p:nvSpPr>
        <p:spPr>
          <a:xfrm>
            <a:off x="1461818" y="2357465"/>
            <a:ext cx="2584174" cy="2385984"/>
          </a:xfrm>
          <a:prstGeom prst="rect">
            <a:avLst/>
          </a:prstGeom>
          <a:solidFill>
            <a:srgbClr val="007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8A0E2A6-9986-F74E-927D-BC7EDBC6F913}"/>
              </a:ext>
            </a:extLst>
          </p:cNvPr>
          <p:cNvSpPr/>
          <p:nvPr userDrawn="1"/>
        </p:nvSpPr>
        <p:spPr>
          <a:xfrm>
            <a:off x="4185092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19CD2A4-9EA7-0A47-A18B-0C7FF8E60F1C}"/>
              </a:ext>
            </a:extLst>
          </p:cNvPr>
          <p:cNvSpPr/>
          <p:nvPr userDrawn="1"/>
        </p:nvSpPr>
        <p:spPr>
          <a:xfrm>
            <a:off x="6908366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4CDA239-D55D-CE49-A4A2-CB54F4683896}"/>
              </a:ext>
            </a:extLst>
          </p:cNvPr>
          <p:cNvSpPr/>
          <p:nvPr userDrawn="1"/>
        </p:nvSpPr>
        <p:spPr>
          <a:xfrm>
            <a:off x="9631639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486D25C-B396-E948-9E8A-C105ADA4A71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 flipH="1">
            <a:off x="1624162" y="2594344"/>
            <a:ext cx="1520456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414C43F0-B08A-8644-BEEE-9B80A5B79B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96582" y="2594345"/>
            <a:ext cx="1680424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D3455E-5F14-A24A-A459-95F81F6EF2C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24162" y="359328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C365794-0B51-AC44-BF7A-29191E3347B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46577" y="2608522"/>
            <a:ext cx="1538657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A8E5F349-7158-3D47-93B2-79611570B16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52357" y="2601433"/>
            <a:ext cx="1758396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4B95D5-7FC0-D647-B638-168A7ED2A1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4A19D7C2-626A-3E46-81CA-3E18C22753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9838A5E-9E86-5848-8CE5-F0758E827E8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396582" y="359328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E2A27B9-0BA0-554C-840B-C59FF54387E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46577" y="359328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A1FDCF7-A79E-2346-B06B-FCD23CFE44A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47169" y="359328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</p:spTree>
    <p:extLst>
      <p:ext uri="{BB962C8B-B14F-4D97-AF65-F5344CB8AC3E}">
        <p14:creationId xmlns:p14="http://schemas.microsoft.com/office/powerpoint/2010/main" val="226219700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Mapp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4EDFB4D-447D-D243-980F-88E1ABB0D997}"/>
              </a:ext>
            </a:extLst>
          </p:cNvPr>
          <p:cNvSpPr/>
          <p:nvPr userDrawn="1"/>
        </p:nvSpPr>
        <p:spPr>
          <a:xfrm>
            <a:off x="85061" y="2368097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8A0E2A6-9986-F74E-927D-BC7EDBC6F913}"/>
              </a:ext>
            </a:extLst>
          </p:cNvPr>
          <p:cNvSpPr/>
          <p:nvPr userDrawn="1"/>
        </p:nvSpPr>
        <p:spPr>
          <a:xfrm>
            <a:off x="2827452" y="2368097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19CD2A4-9EA7-0A47-A18B-0C7FF8E60F1C}"/>
              </a:ext>
            </a:extLst>
          </p:cNvPr>
          <p:cNvSpPr/>
          <p:nvPr userDrawn="1"/>
        </p:nvSpPr>
        <p:spPr>
          <a:xfrm>
            <a:off x="5572392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4CDA239-D55D-CE49-A4A2-CB54F4683896}"/>
              </a:ext>
            </a:extLst>
          </p:cNvPr>
          <p:cNvSpPr/>
          <p:nvPr userDrawn="1"/>
        </p:nvSpPr>
        <p:spPr>
          <a:xfrm>
            <a:off x="8314783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8FE0F6D-137D-AA42-8FC8-4FF55A5E7AA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33437" y="2604977"/>
            <a:ext cx="1276386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390A3B2-9555-2740-912D-52ED0EBE081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053334" y="2608520"/>
            <a:ext cx="1379169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637A4BEB-6926-EF4A-86DE-4D1BD7E24F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801352" y="2590800"/>
            <a:ext cx="1428787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2911AE25-5205-9B48-AFEB-4DD39838F7B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546821" y="2594345"/>
            <a:ext cx="1478407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8658060-DE13-CD43-82B9-C621D3339B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1A96D0D-6A10-BA4F-88B3-A1373782EF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F88D97E-EBD8-3B40-94E1-5BA05EDE09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9436" y="3625703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82441CF0-7376-3240-9ABF-85CFBEBDD30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053334" y="362570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59B43D2-E9C2-E34E-8970-B478A051D7D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799598" y="3625701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581C4E8-FCDC-F049-BE88-3FC03B28DD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543263" y="3625700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</p:spTree>
    <p:extLst>
      <p:ext uri="{BB962C8B-B14F-4D97-AF65-F5344CB8AC3E}">
        <p14:creationId xmlns:p14="http://schemas.microsoft.com/office/powerpoint/2010/main" val="70210573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YAWWF_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E1344B8-AE46-8447-A782-7EC7F96B4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5564" y="5244389"/>
            <a:ext cx="4635500" cy="1068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27213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YAWWF_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E1344B8-AE46-8447-A782-7EC7F96B4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6064" y="5117389"/>
            <a:ext cx="4635500" cy="1068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3527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YAWWF_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E1344B8-AE46-8447-A782-7EC7F96B4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9008" y="506942"/>
            <a:ext cx="4635500" cy="1068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60482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937458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64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0BE2F8C-B1A3-CF4E-9066-C53543290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bg1"/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Title Slid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F9DE030-94BF-D441-8721-FE7CE58D89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Subtitle of Chapter</a:t>
            </a: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21E97B5-842C-734F-8924-EFC42A141B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74522" y="352059"/>
            <a:ext cx="2523744" cy="38351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9F7809A-8F10-634D-9558-A10BEB6ACC9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48987" y="6077140"/>
            <a:ext cx="685800" cy="685800"/>
          </a:xfrm>
          <a:prstGeom prst="rect">
            <a:avLst/>
          </a:prstGeom>
        </p:spPr>
      </p:pic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3FB74312-32B5-2F4A-BB47-FF03A284B08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80622" y="6473533"/>
            <a:ext cx="3392129" cy="276224"/>
          </a:xfrm>
        </p:spPr>
        <p:txBody>
          <a:bodyPr>
            <a:norm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ivileged &amp; Confidential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3FB74312-32B5-2F4A-BB47-FF03A284B08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91394" y="438298"/>
            <a:ext cx="4189228" cy="276224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rp Dev &amp; Planning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0C3A0D-CF94-43E3-AB17-AE6329F5D4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3"/>
            <a:ext cx="1717172" cy="1513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26401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AE39F50-A8C2-944D-9A81-86FCB970C729}"/>
              </a:ext>
            </a:extLst>
          </p:cNvPr>
          <p:cNvSpPr/>
          <p:nvPr userDrawn="1"/>
        </p:nvSpPr>
        <p:spPr>
          <a:xfrm>
            <a:off x="0" y="0"/>
            <a:ext cx="12192000" cy="6866456"/>
          </a:xfrm>
          <a:prstGeom prst="rect">
            <a:avLst/>
          </a:prstGeom>
          <a:solidFill>
            <a:srgbClr val="007F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FFB3669-F614-1D46-9E95-63569CCB287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14463" y="2104103"/>
            <a:ext cx="9363075" cy="1540753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Slide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DFD606CB-5980-864E-BC3E-942C4C3D517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414463" y="3644857"/>
            <a:ext cx="9363075" cy="276224"/>
          </a:xfrm>
        </p:spPr>
        <p:txBody>
          <a:bodyPr>
            <a:norm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 of Chapt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E6EEB7-F5BE-9142-8E28-A2D9A8C3F2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590288"/>
            <a:ext cx="2573273" cy="2267712"/>
          </a:xfrm>
          <a:prstGeom prst="rect">
            <a:avLst/>
          </a:prstGeom>
        </p:spPr>
      </p:pic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FB74312-32B5-2F4A-BB47-FF03A284B08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99935" y="6281928"/>
            <a:ext cx="3392129" cy="276224"/>
          </a:xfrm>
        </p:spPr>
        <p:txBody>
          <a:bodyPr>
            <a:norm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ivileged &amp; Confidential</a:t>
            </a:r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B2E3C8A-FEF7-0647-86CB-796410E2EF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3531" y="214536"/>
            <a:ext cx="3191256" cy="48494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9F7809A-8F10-634D-9558-A10BEB6ACC9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48987" y="6077140"/>
            <a:ext cx="6858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07037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83ACD7-27EE-CC48-8599-FA698431291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692119" y="1192260"/>
            <a:ext cx="2199190" cy="3406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dirty="0">
                <a:solidFill>
                  <a:schemeClr val="bg1"/>
                </a:solidFill>
                <a:latin typeface="AmericanSans" panose="02000000000000000000" pitchFamily="2" charset="77"/>
              </a:rPr>
              <a:t>January 1, 202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BF77620-DD25-904E-A8B8-CF3DB84AD8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17172" y="1282414"/>
            <a:ext cx="3573826" cy="687003"/>
          </a:xfrm>
        </p:spPr>
        <p:txBody>
          <a:bodyPr/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3B84278-9197-2A43-B591-062BB4D79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43441" y="2330970"/>
            <a:ext cx="8955039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DD77659D-F558-AC41-9B8E-4FBED8B0C8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9086" y="3306329"/>
            <a:ext cx="8955039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FA33482-AF8F-C045-81DE-A287F27BA88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52151" y="4265022"/>
            <a:ext cx="8941974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E120FCF0-C3D8-EB46-B7D4-1EC38C310FB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47796" y="5266507"/>
            <a:ext cx="8941974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8EB9E7-2746-BA42-8733-B0F969B59181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76EBE57-D58F-6C43-B73C-E8D8F44A1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3256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206288" cy="6858000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E36764-0534-2A47-82F4-4BDF7F536F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2"/>
            <a:ext cx="1717172" cy="1513268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7197A2B-82EF-D446-97EB-31E7ABDCF2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Title Slid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6D60169-88F9-5F41-9277-6A1728CE1C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</a:t>
            </a:r>
            <a:r>
              <a:rPr lang="en-US" sz="160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Subtitle of Chapter </a:t>
            </a:r>
            <a:endParaRPr lang="en-US" sz="1600">
              <a:solidFill>
                <a:schemeClr val="bg1"/>
              </a:solidFill>
              <a:latin typeface="AmericanSans" panose="02000000000000000000" pitchFamily="2" charset="7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DCCBA55-F9F7-644E-989E-DD72C4C46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4522" y="352060"/>
            <a:ext cx="2523744" cy="38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0794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83ACD7-27EE-CC48-8599-FA698431291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692119" y="1192260"/>
            <a:ext cx="2199190" cy="3406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dirty="0">
                <a:solidFill>
                  <a:schemeClr val="bg1"/>
                </a:solidFill>
                <a:latin typeface="AmericanSans" panose="02000000000000000000" pitchFamily="2" charset="77"/>
              </a:rPr>
              <a:t>January 1, 202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BF77620-DD25-904E-A8B8-CF3DB84AD8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17172" y="1282414"/>
            <a:ext cx="3573826" cy="687003"/>
          </a:xfrm>
        </p:spPr>
        <p:txBody>
          <a:bodyPr/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8EB9E7-2746-BA42-8733-B0F969B59181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681516DD-C626-F249-9CC5-E722FA4A3885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>
          <a:xfrm flipH="1">
            <a:off x="1786973" y="2533537"/>
            <a:ext cx="212241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68E13D9-3750-3448-9429-C0C222364975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>
          <a:xfrm flipH="1">
            <a:off x="4201942" y="2533298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B086BE04-9DD8-E541-B9DB-6866097F71BD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 flipH="1">
            <a:off x="6616911" y="2533298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D3A07B5-3929-E841-A580-4C5440BC2640}"/>
              </a:ext>
            </a:extLst>
          </p:cNvPr>
          <p:cNvSpPr>
            <a:spLocks noGrp="1" noChangeAspect="1"/>
          </p:cNvSpPr>
          <p:nvPr>
            <p:ph type="body" sz="quarter" idx="33" hasCustomPrompt="1"/>
          </p:nvPr>
        </p:nvSpPr>
        <p:spPr>
          <a:xfrm flipH="1">
            <a:off x="9035524" y="2533297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A65C6345-B921-7742-A4E6-F4C2AB64C419}"/>
              </a:ext>
            </a:extLst>
          </p:cNvPr>
          <p:cNvSpPr>
            <a:spLocks noGrp="1" noChangeAspect="1"/>
          </p:cNvSpPr>
          <p:nvPr>
            <p:ph type="body" sz="quarter" idx="34" hasCustomPrompt="1"/>
          </p:nvPr>
        </p:nvSpPr>
        <p:spPr>
          <a:xfrm flipH="1">
            <a:off x="1786973" y="4570435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F72122D9-FAF6-A246-B0F2-AA9015838054}"/>
              </a:ext>
            </a:extLst>
          </p:cNvPr>
          <p:cNvSpPr>
            <a:spLocks noGrp="1" noChangeAspect="1"/>
          </p:cNvSpPr>
          <p:nvPr>
            <p:ph type="body" sz="quarter" idx="35" hasCustomPrompt="1"/>
          </p:nvPr>
        </p:nvSpPr>
        <p:spPr>
          <a:xfrm flipH="1">
            <a:off x="4221817" y="4570435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DF681123-F126-204E-91C9-F3BD27546B49}"/>
              </a:ext>
            </a:extLst>
          </p:cNvPr>
          <p:cNvSpPr>
            <a:spLocks noGrp="1" noChangeAspect="1"/>
          </p:cNvSpPr>
          <p:nvPr>
            <p:ph type="body" sz="quarter" idx="36" hasCustomPrompt="1"/>
          </p:nvPr>
        </p:nvSpPr>
        <p:spPr>
          <a:xfrm flipH="1">
            <a:off x="6616911" y="4570435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F6735F22-7C4A-1644-B7AD-5FD402690406}"/>
              </a:ext>
            </a:extLst>
          </p:cNvPr>
          <p:cNvSpPr>
            <a:spLocks noGrp="1" noChangeAspect="1"/>
          </p:cNvSpPr>
          <p:nvPr>
            <p:ph type="body" sz="quarter" idx="37" hasCustomPrompt="1"/>
          </p:nvPr>
        </p:nvSpPr>
        <p:spPr>
          <a:xfrm flipH="1">
            <a:off x="9035524" y="4570435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537354-16F5-3248-AE41-F4AC25CD97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63127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87113ECF-D558-6343-9EA9-D26C0BEB8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26047793-0769-0F4F-8A1A-EA53AA366F38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0B6606B5-AB41-244D-A481-083D61F996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17172" y="1282414"/>
            <a:ext cx="3945440" cy="687003"/>
          </a:xfrm>
        </p:spPr>
        <p:txBody>
          <a:bodyPr/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7F49F257-122B-1342-A5C8-E06994015C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43441" y="2330970"/>
            <a:ext cx="1352455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CEEB0733-7C4D-AB47-8943-1E66EE3BC7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91042" y="2307806"/>
            <a:ext cx="2471570" cy="687002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9982B6BA-A4F8-604E-8083-EC3893065A6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8367" y="3266323"/>
            <a:ext cx="2471569" cy="687001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EC7FB3EE-55C2-EC45-8B5A-C3E221991D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88370" y="4251824"/>
            <a:ext cx="2471566" cy="6870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1A11A3A2-F7FC-024D-B08B-85CD527C34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85695" y="5210341"/>
            <a:ext cx="2471565" cy="686999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A2D3FFA5-6100-284A-B619-D879ABF148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30431" y="3260977"/>
            <a:ext cx="2468880" cy="6858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E653DCB8-B576-C34D-97FF-79FA7442C8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30433" y="4246477"/>
            <a:ext cx="2468880" cy="6858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63F64038-D074-5446-BD2B-052288BA39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27759" y="5204995"/>
            <a:ext cx="2468880" cy="6858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DA1D93C2-309B-624E-9360-9140E8D3585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527758" y="2307806"/>
            <a:ext cx="2468880" cy="6858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C57D0B18-26B7-2048-8153-4931BC262F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9087" y="3306329"/>
            <a:ext cx="1356810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FFD5E081-880A-584A-871C-1B7B0EB105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52150" y="4265022"/>
            <a:ext cx="1352455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808C7EEA-0A75-084B-9D51-BF243C7BA9C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47796" y="5266507"/>
            <a:ext cx="1356810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A28A7FCF-BB31-0D48-B92E-1C311125427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14654" y="2339679"/>
            <a:ext cx="1352455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F7B5DEFB-876C-3B4E-BCC9-3ADBF8069AB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10300" y="3315038"/>
            <a:ext cx="1356810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810CEB7B-B0A0-E242-B2B0-5EA105AEFB9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23363" y="4273731"/>
            <a:ext cx="1352455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93B58029-A3D2-924F-982D-DB20AC7F6A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19009" y="5275216"/>
            <a:ext cx="1356810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</p:spTree>
    <p:extLst>
      <p:ext uri="{BB962C8B-B14F-4D97-AF65-F5344CB8AC3E}">
        <p14:creationId xmlns:p14="http://schemas.microsoft.com/office/powerpoint/2010/main" val="3047991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6">
          <p15:clr>
            <a:srgbClr val="FBAE40"/>
          </p15:clr>
        </p15:guide>
        <p15:guide id="2" orient="horz" pos="2736">
          <p15:clr>
            <a:srgbClr val="FBAE40"/>
          </p15:clr>
        </p15:guide>
        <p15:guide id="3" orient="horz" pos="3360">
          <p15:clr>
            <a:srgbClr val="FBAE40"/>
          </p15:clr>
        </p15:guide>
        <p15:guide id="4" pos="3912">
          <p15:clr>
            <a:srgbClr val="FBAE40"/>
          </p15:clr>
        </p15:guide>
        <p15:guide id="5" pos="1176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83ACD7-27EE-CC48-8599-FA698431291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692119" y="1192260"/>
            <a:ext cx="2199190" cy="3406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dirty="0">
                <a:solidFill>
                  <a:schemeClr val="bg1"/>
                </a:solidFill>
                <a:latin typeface="AmericanSans" panose="02000000000000000000" pitchFamily="2" charset="77"/>
              </a:rPr>
              <a:t>January 1, 20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9DBF10-D40B-2B45-A3F4-D01D83F878D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7587" y="3109596"/>
            <a:ext cx="8621259" cy="966788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Place your 1 line headline here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556B65-B902-E14E-AC89-586208119A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05653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AFD0269-1BB4-1744-AFCC-976472E0AB2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7587" y="3109596"/>
            <a:ext cx="7863613" cy="966788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Place your 2 line headline in this text box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CCDCA-86A5-DC49-8A51-A03C539F5B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57781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D50CE35-6C61-B64F-85CB-F718F83FD368}"/>
              </a:ext>
            </a:extLst>
          </p:cNvPr>
          <p:cNvSpPr/>
          <p:nvPr userDrawn="1"/>
        </p:nvSpPr>
        <p:spPr>
          <a:xfrm>
            <a:off x="5467135" y="3868177"/>
            <a:ext cx="845066" cy="135483"/>
          </a:xfrm>
          <a:prstGeom prst="rect">
            <a:avLst/>
          </a:prstGeom>
          <a:solidFill>
            <a:srgbClr val="CC2C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9B19634-BA82-FD4A-A72D-3C999A778BB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7587" y="2948232"/>
            <a:ext cx="8500107" cy="966788"/>
          </a:xfrm>
        </p:spPr>
        <p:txBody>
          <a:bodyPr>
            <a:normAutofit/>
          </a:bodyPr>
          <a:lstStyle>
            <a:lvl1pPr marL="0" indent="0" algn="ctr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Place your 1 line headlin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F7EAD-95E3-DD4E-8712-16ADC37E47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52259" y="4318906"/>
            <a:ext cx="3852863" cy="62865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your subtitl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FFC095-B473-4B43-A248-C5B95CC14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37192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83ACD7-27EE-CC48-8599-FA698431291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692119" y="1192260"/>
            <a:ext cx="2199190" cy="3406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dirty="0">
                <a:solidFill>
                  <a:schemeClr val="bg1"/>
                </a:solidFill>
                <a:latin typeface="AmericanSans" panose="02000000000000000000" pitchFamily="2" charset="77"/>
              </a:rPr>
              <a:t>January 1, 202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BF77620-DD25-904E-A8B8-CF3DB84AD8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7800" y="267209"/>
            <a:ext cx="11093090" cy="687003"/>
          </a:xfrm>
        </p:spPr>
        <p:txBody>
          <a:bodyPr/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8EB9E7-2746-BA42-8733-B0F969B59181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537354-16F5-3248-AE41-F4AC25CD97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240ED3CC-6C65-DD4C-961E-07451F8A3D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8260" y="1027832"/>
            <a:ext cx="11092630" cy="5215652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71602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8F9F7A6-7AA4-5A41-B7B7-BFC8BEA57D63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DED7CE-B331-EE4A-A43D-EA9B18B450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501" y="383168"/>
            <a:ext cx="11302538" cy="1069047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List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0C73654-0070-4E4C-87EF-F5D515FE3D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01" y="1532153"/>
            <a:ext cx="5547499" cy="3793694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lvl="0"/>
            <a:endParaRPr lang="en-US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FB29E677-4029-4646-9D22-5BDE01105D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9373" y="1535873"/>
            <a:ext cx="5681666" cy="3793694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CD61CB1-E8EE-D34B-B824-1A9FC94EAA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24957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 w/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ED177B9-7F74-AE42-96B5-BE7F7EB331B7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latin typeface="AmericanSans" panose="02000000000000000000" pitchFamily="2" charset="77"/>
              </a:rPr>
              <a:t>‹#›</a:t>
            </a:fld>
            <a:endParaRPr lang="en-US" sz="900" b="0" i="1" dirty="0">
              <a:latin typeface="AmericanSans" panose="02000000000000000000" pitchFamily="2" charset="77"/>
            </a:endParaRP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07DAC6FE-5804-7D49-BC1D-386FF610C4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592" y="1537798"/>
            <a:ext cx="5550408" cy="379476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 sz="1400">
                <a:solidFill>
                  <a:schemeClr val="bg2">
                    <a:lumMod val="25000"/>
                  </a:schemeClr>
                </a:solidFill>
              </a:defRPr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Place a small paragraph or bulleted list here</a:t>
            </a:r>
          </a:p>
          <a:p>
            <a:pPr lvl="1"/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lvl="0"/>
            <a:endParaRPr lang="en-US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4B8872A-CDBE-1345-8678-CB5FFF3F99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00631" y="1531620"/>
            <a:ext cx="5550408" cy="379476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 sz="1400">
                <a:solidFill>
                  <a:schemeClr val="bg2">
                    <a:lumMod val="25000"/>
                  </a:schemeClr>
                </a:solidFill>
              </a:defRPr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Place a small paragraph or bulleted list here</a:t>
            </a:r>
          </a:p>
          <a:p>
            <a:pPr lvl="1"/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EF6444-6593-D849-9CC6-0F467DA64F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5050340-2CE7-A542-B014-72A1DAF251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501" y="383168"/>
            <a:ext cx="11302538" cy="1069047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List w/ Sub Bullet Title Here</a:t>
            </a:r>
          </a:p>
        </p:txBody>
      </p:sp>
    </p:spTree>
    <p:extLst>
      <p:ext uri="{BB962C8B-B14F-4D97-AF65-F5344CB8AC3E}">
        <p14:creationId xmlns:p14="http://schemas.microsoft.com/office/powerpoint/2010/main" val="169591990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0266A63-AF82-A54D-AD59-287EBF19D5C5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E7E2350-675A-2347-BA3D-85B9C17902B0}"/>
              </a:ext>
            </a:extLst>
          </p:cNvPr>
          <p:cNvSpPr/>
          <p:nvPr userDrawn="1"/>
        </p:nvSpPr>
        <p:spPr>
          <a:xfrm>
            <a:off x="5673467" y="4385486"/>
            <a:ext cx="845066" cy="135483"/>
          </a:xfrm>
          <a:prstGeom prst="rect">
            <a:avLst/>
          </a:prstGeom>
          <a:solidFill>
            <a:srgbClr val="CC2C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2E483C-6704-BA46-9A94-5D6498858B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6803" y="2594714"/>
            <a:ext cx="9399551" cy="1637045"/>
          </a:xfrm>
        </p:spPr>
        <p:txBody>
          <a:bodyPr>
            <a:normAutofit/>
          </a:bodyPr>
          <a:lstStyle>
            <a:lvl1pPr marL="0" indent="0" algn="ctr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Add a quote or statement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6E856D3-0100-CC40-B89C-001706D326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9169" y="4996786"/>
            <a:ext cx="2042116" cy="489615"/>
          </a:xfrm>
        </p:spPr>
        <p:txBody>
          <a:bodyPr>
            <a:normAutofit/>
          </a:bodyPr>
          <a:lstStyle>
            <a:lvl1pPr marL="0" indent="0" algn="ctr">
              <a:buNone/>
              <a:defRPr sz="1600" i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erson, Loc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EADCFF8-DF09-474E-834E-02246A7537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45578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8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1"/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1"/>
              </a:solidFill>
              <a:latin typeface="AmericanSans" panose="02000000000000000000" pitchFamily="2" charset="77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E36764-0534-2A47-82F4-4BDF7F536F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3"/>
            <a:ext cx="1717172" cy="151326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9F2229-3BB3-5B40-B594-7333C1D602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bg1"/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Titl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26A74E-928A-FD4C-AE46-D87AA08387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Subtitle of Chapter</a:t>
            </a:r>
          </a:p>
        </p:txBody>
      </p:sp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93FA8C5-039A-7644-9B2E-705948643F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4522" y="352059"/>
            <a:ext cx="2523744" cy="38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4257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AWWF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121CD04-857D-E34C-A6E8-89D6034152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089900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B06A1E2-D1D7-0E41-A56B-C644581637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749" y="1920938"/>
            <a:ext cx="3251009" cy="7491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33BD216-B2DB-EB49-8605-77A3F9427248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45E434-6BDA-F24A-9FEE-F8BEFBF117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94870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64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E36764-0534-2A47-82F4-4BDF7F536F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3"/>
            <a:ext cx="1717172" cy="1513268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0BE2F8C-B1A3-CF4E-9066-C53543290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bg1"/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Title Slid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F9DE030-94BF-D441-8721-FE7CE58D89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Subtitle of Chapt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1"/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1"/>
              </a:solidFill>
              <a:latin typeface="AmericanSans" panose="02000000000000000000" pitchFamily="2" charset="77"/>
            </a:endParaRP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21E97B5-842C-734F-8924-EFC42A141B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4522" y="352059"/>
            <a:ext cx="2523744" cy="38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90014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E36764-0534-2A47-82F4-4BDF7F536F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3"/>
            <a:ext cx="1717172" cy="1513268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A56D760-6A6D-2D4A-B736-180C25F107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bg1"/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Title Slid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9FB0631-5DFF-C64B-B50F-F194E6DCAB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Subtitle of Chapt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1"/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1"/>
              </a:solidFill>
              <a:latin typeface="AmericanSans" panose="02000000000000000000" pitchFamily="2" charset="77"/>
            </a:endParaRP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6F32039-DE43-FF41-AE69-E1C6C4F9A8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4522" y="352059"/>
            <a:ext cx="2523744" cy="38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93571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206288" cy="6858000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E36764-0534-2A47-82F4-4BDF7F536F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2"/>
            <a:ext cx="1717172" cy="1513268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7197A2B-82EF-D446-97EB-31E7ABDCF2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Title Slid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6D60169-88F9-5F41-9277-6A1728CE1C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</a:t>
            </a:r>
            <a:r>
              <a:rPr lang="en-US" sz="160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Subtitle of Chapter </a:t>
            </a:r>
            <a:endParaRPr lang="en-US" sz="1600">
              <a:solidFill>
                <a:schemeClr val="bg1"/>
              </a:solidFill>
              <a:latin typeface="AmericanSans" panose="02000000000000000000" pitchFamily="2" charset="7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DCCBA55-F9F7-644E-989E-DD72C4C46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4522" y="352060"/>
            <a:ext cx="2523744" cy="38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61067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AWWF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121CD04-857D-E34C-A6E8-89D6034152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089900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B06A1E2-D1D7-0E41-A56B-C644581637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749" y="1920938"/>
            <a:ext cx="3251009" cy="7491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33BD216-B2DB-EB49-8605-77A3F9427248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45E434-6BDA-F24A-9FEE-F8BEFBF117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98596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saic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30837D-51E8-D941-9B28-2A1B419AF4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00125" y="828675"/>
            <a:ext cx="5351463" cy="288925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52B38A5-E887-014F-B3C4-52A019C55F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86525" y="817563"/>
            <a:ext cx="4730750" cy="51689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C2D697F-C740-9144-BDED-A90B9E55999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87425" y="3829050"/>
            <a:ext cx="5353050" cy="2170113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B8462B-C61B-934B-97FD-DCB9E336B0BA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3BF87C-E082-0745-9FF4-7565CE6D13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05193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mage w/ Body Cop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55AD354-806A-4544-A952-1DADB10B67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14950" y="0"/>
            <a:ext cx="4097338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10A681-27D7-A546-9928-07C6AE026D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969" y="3096133"/>
            <a:ext cx="4402138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3583A44-0D84-1E4A-BCA7-FC3D0FD098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163" y="3901439"/>
            <a:ext cx="4144962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5AF709E-BCA9-C940-A539-5F888E70F8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607137" y="3460073"/>
            <a:ext cx="2298824" cy="2964478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6FD2699-2BAC-7A4A-A614-51B4A1CB1B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78654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Image w/ Body Cop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44734A-C7F8-5544-B6AA-25FAEA370BF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8107363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0F5290-F8A5-E349-9CD3-E43011A034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09573" y="2608326"/>
            <a:ext cx="3158171" cy="1390650"/>
          </a:xfr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Picture Title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3A8D03-2BAC-5541-A923-E6E9EB430B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34654" y="4047681"/>
            <a:ext cx="3522663" cy="158432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8299A7-F266-464C-A9C2-A273D5581D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66393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/3 Image w/ Body Cop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44734A-C7F8-5544-B6AA-25FAEA370BF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2709" y="0"/>
            <a:ext cx="8107363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A8E2A2F-BF30-4647-8E4E-767DDCA3B1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7969" y="3096133"/>
            <a:ext cx="3307642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CFAE2B4-3795-4142-8DC4-4D3AF0C34B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163" y="3901439"/>
            <a:ext cx="3205071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AA990C0-6C96-4D4B-8D09-C6A0CA9F99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73485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Image w/ Body Copy Left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0F66054-0B17-A140-A55C-7E5A7E3E477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24613" y="3108198"/>
            <a:ext cx="4218875" cy="902907"/>
          </a:xfr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Picture Title</a:t>
            </a:r>
            <a:endParaRPr lang="en-US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25A0539-B78E-C749-B676-89656F4125E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49694" y="4011105"/>
            <a:ext cx="3522663" cy="158432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29CDA2-8874-6C4E-B312-259561EC792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0"/>
            <a:ext cx="6108700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05BBC8-8583-C04F-A4FF-8C06AE9D08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95042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Top w/ Body Copy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3DE534F-87A0-624A-866F-649E420E4D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35749" y="4620006"/>
            <a:ext cx="4718747" cy="720090"/>
          </a:xfr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Picture Title</a:t>
            </a:r>
            <a:endParaRPr lang="en-US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3D5CAC0-334C-2F4E-80F2-C55ACF1953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60830" y="5327841"/>
            <a:ext cx="4697466" cy="977956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3DEF3A-B4D0-5D40-9695-87FF02B91FE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0"/>
            <a:ext cx="12192000" cy="412115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ADA9B79-2FA6-A34D-9045-78490B77C47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92108" y="4660842"/>
            <a:ext cx="4960702" cy="158557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54A7B3A-46D3-7B4B-8549-EB4B66F15C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2171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saic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30837D-51E8-D941-9B28-2A1B419AF4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00125" y="828675"/>
            <a:ext cx="5351463" cy="288925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52B38A5-E887-014F-B3C4-52A019C55F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86525" y="817563"/>
            <a:ext cx="4730750" cy="51689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C2D697F-C740-9144-BDED-A90B9E55999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87425" y="3829050"/>
            <a:ext cx="5353050" cy="2170113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B8462B-C61B-934B-97FD-DCB9E336B0BA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3BF87C-E082-0745-9FF4-7565CE6D13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78047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in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3DEF3A-B4D0-5D40-9695-87FF02B91FE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1158117"/>
            <a:ext cx="12192000" cy="412115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528475-5325-2D4F-A674-B8D2E74665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723926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EE4F6E5-172A-3245-84BD-FFCCE740CD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95388" y="292100"/>
            <a:ext cx="10045700" cy="6230938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56BABA-5D2B-AC47-A96B-B6FD438261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89549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53059155-DD42-154D-B9E7-E8925485768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106904" y="963460"/>
            <a:ext cx="3110427" cy="5100456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2713CE83-68EB-DF40-AD31-DE2243FB932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8879" y="963460"/>
            <a:ext cx="3108960" cy="51023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3AB530D-1229-A34B-838F-AD318CFC30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9387" y="965071"/>
            <a:ext cx="3108960" cy="51023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3D9C99-8EB7-DD40-9022-221B1B7DEE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22142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0EFFF4E8-B865-3644-88C4-013CEA6CDFB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950107" y="1789910"/>
            <a:ext cx="2584175" cy="34159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486C5F1D-6DA2-9541-8AFD-BB4A68C9BF5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95389" y="1789910"/>
            <a:ext cx="2584175" cy="34159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37466E48-6004-664E-8E7D-665770A7502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40672" y="1789910"/>
            <a:ext cx="2584175" cy="34159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E1DE458-C898-2E47-8F35-C043D66955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5954" y="1789910"/>
            <a:ext cx="2584175" cy="34159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9219FCE-EC1E-E049-8D82-ED2A38410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93083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 Screen Image w/ Body Cop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F7F630-17F4-6543-8ECD-44C4D95378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3944" y="1022732"/>
            <a:ext cx="7638056" cy="5147109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F6F9702-5923-BD4E-8DDB-45964A07B2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969" y="2462149"/>
            <a:ext cx="4402138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A21152A-0C25-3643-B766-DB829FB5C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163" y="3267455"/>
            <a:ext cx="4389437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F7C2D6A-EB6A-934D-8849-AC5310D8552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081713" y="1722438"/>
            <a:ext cx="4603750" cy="26162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34FFE22-9EE2-5346-93B0-DFF64541A7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73435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Screen Image w/ Body Copy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C7113D3-5477-9949-AB38-24561C627D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6549" y="1006090"/>
            <a:ext cx="2675164" cy="4845819"/>
          </a:xfrm>
          <a:prstGeom prst="rect">
            <a:avLst/>
          </a:prstGeom>
          <a:effectLst>
            <a:reflection stA="23000" endPos="10000" dir="5400000" sy="-100000" algn="bl" rotWithShape="0"/>
          </a:effectLst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FD4329C-A3A7-934A-B6BC-79F3C228E6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969" y="2462149"/>
            <a:ext cx="4402138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2F74A6B-2C59-C141-A1E8-39B60CA7C7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163" y="3267455"/>
            <a:ext cx="4389437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6360DB4-B710-F840-97BD-56F986CD02D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7421563" y="1616074"/>
            <a:ext cx="2041525" cy="3636409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BAADBE-A9DA-DC40-9187-0EE293BB7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28484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Screen Image w/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FD4329C-A3A7-934A-B6BC-79F3C228E6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969" y="2462149"/>
            <a:ext cx="4402138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2F74A6B-2C59-C141-A1E8-39B60CA7C7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163" y="3267455"/>
            <a:ext cx="4389437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BAADBE-A9DA-DC40-9187-0EE293BB7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F4BB097-01F7-9848-A2FD-D747F9E72D5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9227" y="263258"/>
            <a:ext cx="4261373" cy="6285740"/>
          </a:xfrm>
          <a:prstGeom prst="rect">
            <a:avLst/>
          </a:prstGeom>
          <a:effectLst>
            <a:reflection blurRad="6350" stA="23000" endPos="10000" dir="5400000" sy="-100000" algn="bl" rotWithShape="0"/>
          </a:effectLst>
        </p:spPr>
      </p:pic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2EB935E5-A45B-9047-BABB-260069AB35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772060" y="935026"/>
            <a:ext cx="3705240" cy="4912415"/>
          </a:xfrm>
          <a:custGeom>
            <a:avLst/>
            <a:gdLst>
              <a:gd name="connsiteX0" fmla="*/ 0 w 2820838"/>
              <a:gd name="connsiteY0" fmla="*/ 0 h 3735238"/>
              <a:gd name="connsiteX1" fmla="*/ 2820838 w 2820838"/>
              <a:gd name="connsiteY1" fmla="*/ 0 h 3735238"/>
              <a:gd name="connsiteX2" fmla="*/ 2820838 w 2820838"/>
              <a:gd name="connsiteY2" fmla="*/ 3735238 h 3735238"/>
              <a:gd name="connsiteX3" fmla="*/ 0 w 2820838"/>
              <a:gd name="connsiteY3" fmla="*/ 3735238 h 373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20838" h="3735238">
                <a:moveTo>
                  <a:pt x="0" y="0"/>
                </a:moveTo>
                <a:lnTo>
                  <a:pt x="2820838" y="0"/>
                </a:lnTo>
                <a:lnTo>
                  <a:pt x="2820838" y="3735238"/>
                </a:lnTo>
                <a:lnTo>
                  <a:pt x="0" y="3735238"/>
                </a:ln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>
                <a:alpha val="81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5093934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and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EAD816-52FA-444F-ACC3-C06C773E8E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C1D9757-D430-324B-B9A3-CB630C2884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5535" y="-743619"/>
            <a:ext cx="8345237" cy="8345237"/>
          </a:xfrm>
          <a:prstGeom prst="rect">
            <a:avLst/>
          </a:prstGeom>
        </p:spPr>
      </p:pic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D9E87076-ED09-C74F-B234-90F536C1BA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28026" y="762584"/>
            <a:ext cx="7509753" cy="4226492"/>
          </a:xfrm>
          <a:custGeom>
            <a:avLst/>
            <a:gdLst>
              <a:gd name="connsiteX0" fmla="*/ 0 w 4839419"/>
              <a:gd name="connsiteY0" fmla="*/ 0 h 2777706"/>
              <a:gd name="connsiteX1" fmla="*/ 4839419 w 4839419"/>
              <a:gd name="connsiteY1" fmla="*/ 0 h 2777706"/>
              <a:gd name="connsiteX2" fmla="*/ 4839419 w 4839419"/>
              <a:gd name="connsiteY2" fmla="*/ 2777706 h 2777706"/>
              <a:gd name="connsiteX3" fmla="*/ 0 w 4839419"/>
              <a:gd name="connsiteY3" fmla="*/ 2777706 h 2777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39419" h="2777706">
                <a:moveTo>
                  <a:pt x="0" y="0"/>
                </a:moveTo>
                <a:lnTo>
                  <a:pt x="4839419" y="0"/>
                </a:lnTo>
                <a:lnTo>
                  <a:pt x="4839419" y="2777706"/>
                </a:lnTo>
                <a:lnTo>
                  <a:pt x="0" y="2777706"/>
                </a:ln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25400">
              <a:prstClr val="black">
                <a:alpha val="58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F41D199-27D1-ED41-B44B-16823471D60C}"/>
              </a:ext>
            </a:extLst>
          </p:cNvPr>
          <p:cNvGrpSpPr/>
          <p:nvPr userDrawn="1"/>
        </p:nvGrpSpPr>
        <p:grpSpPr>
          <a:xfrm>
            <a:off x="205701" y="436764"/>
            <a:ext cx="3343315" cy="6026498"/>
            <a:chOff x="7871044" y="199745"/>
            <a:chExt cx="3670329" cy="661595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016A417-8E35-674B-9522-03F52D4261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6DF42CE-8610-2C40-835F-C026A6482132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FB06323-1077-1343-8951-4F9C8E6FF64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39205" y="575627"/>
            <a:ext cx="2755874" cy="5390145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16050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</p:bld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EAD816-52FA-444F-ACC3-C06C773E8E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B8895BBD-FB6C-FC49-8CB2-9C2E2057777B}"/>
              </a:ext>
            </a:extLst>
          </p:cNvPr>
          <p:cNvGrpSpPr/>
          <p:nvPr userDrawn="1"/>
        </p:nvGrpSpPr>
        <p:grpSpPr>
          <a:xfrm>
            <a:off x="0" y="663625"/>
            <a:ext cx="3180877" cy="5733695"/>
            <a:chOff x="7871044" y="199745"/>
            <a:chExt cx="3670329" cy="6615958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0E22972-1B56-1F43-8707-BB055B85F1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9C70B68D-C821-4941-95B9-7ED1D3555D4D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9F519B3-C9BD-6C4E-B9A4-BD54F4B4F59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32743" y="794980"/>
            <a:ext cx="2560630" cy="5057980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210E530-B44C-3E41-928F-DF042440DEF7}"/>
              </a:ext>
            </a:extLst>
          </p:cNvPr>
          <p:cNvGrpSpPr/>
          <p:nvPr userDrawn="1"/>
        </p:nvGrpSpPr>
        <p:grpSpPr>
          <a:xfrm>
            <a:off x="2976880" y="663625"/>
            <a:ext cx="3180877" cy="5733695"/>
            <a:chOff x="7871044" y="199745"/>
            <a:chExt cx="3670329" cy="6615958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C8B8BF5-E214-9E4A-BA73-00B5226196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E89A5EFE-5F6C-884E-9B32-661E054CBE17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87214D4E-0F1A-624A-A09C-211D22FB8100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3409623" y="794980"/>
            <a:ext cx="2560630" cy="5057980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9708C2D-AE97-A94C-A8CD-7DE61A848106}"/>
              </a:ext>
            </a:extLst>
          </p:cNvPr>
          <p:cNvGrpSpPr/>
          <p:nvPr userDrawn="1"/>
        </p:nvGrpSpPr>
        <p:grpSpPr>
          <a:xfrm>
            <a:off x="5974080" y="663625"/>
            <a:ext cx="3180877" cy="5733695"/>
            <a:chOff x="7871044" y="199745"/>
            <a:chExt cx="3670329" cy="6615958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4440BAAD-BF7C-4345-A3B8-5D49B3F587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E263B2E2-79F5-6C44-B7E1-B442C2A3E9B2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2DEF7FB6-832E-5343-A125-9E08021A7118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406823" y="794980"/>
            <a:ext cx="2560630" cy="5057980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3E3F472-D6B5-5A4D-A7F5-8B22745006A6}"/>
              </a:ext>
            </a:extLst>
          </p:cNvPr>
          <p:cNvGrpSpPr/>
          <p:nvPr userDrawn="1"/>
        </p:nvGrpSpPr>
        <p:grpSpPr>
          <a:xfrm>
            <a:off x="8950960" y="663625"/>
            <a:ext cx="3180877" cy="5733695"/>
            <a:chOff x="7871044" y="199745"/>
            <a:chExt cx="3670329" cy="6615958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8DBED865-23BD-1443-AC36-5FC2B90658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DB7B73D-89AE-A14A-B3EC-231DFDA1DC4D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80E299BD-ED3C-4043-8755-E6135E725CB8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9383703" y="794980"/>
            <a:ext cx="2560630" cy="5057980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72634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3" grpId="0" animBg="1"/>
      <p:bldP spid="27" grpId="0" animBg="1"/>
      <p:bldP spid="31" grpId="0" animBg="1"/>
    </p:bld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/Grap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D337B06-23DB-184A-A321-4AB2B99FB1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31653" y="2620645"/>
            <a:ext cx="3554839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45F63A0-E3DF-344B-9955-922C141F50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33146" y="4047275"/>
            <a:ext cx="3541623" cy="117157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chart here. 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3FB88286-CE9A-1A48-8D87-5B193BD14EF5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72990" y="480036"/>
            <a:ext cx="6870700" cy="57451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chart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AF94283-B4C9-A947-AB73-CC28F1CAF4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8202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mage w/ Body Cop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55AD354-806A-4544-A952-1DADB10B67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14950" y="0"/>
            <a:ext cx="4097338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10A681-27D7-A546-9928-07C6AE026D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969" y="3096133"/>
            <a:ext cx="4402138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3583A44-0D84-1E4A-BCA7-FC3D0FD098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163" y="3901439"/>
            <a:ext cx="4144962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5AF709E-BCA9-C940-A539-5F888E70F8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607137" y="3460073"/>
            <a:ext cx="2298824" cy="2964478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6FD2699-2BAC-7A4A-A614-51B4A1CB1B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87962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lationship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D337B06-23DB-184A-A321-4AB2B99FB1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485505" y="2620645"/>
            <a:ext cx="3600987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Relationship Chart 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45F63A0-E3DF-344B-9955-922C141F50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33146" y="4047275"/>
            <a:ext cx="3541623" cy="117157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chart here.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C90C349-4936-854C-8D33-4042AA00B5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5" name="Chart Placeholder 2">
            <a:extLst>
              <a:ext uri="{FF2B5EF4-FFF2-40B4-BE49-F238E27FC236}">
                <a16:creationId xmlns:a16="http://schemas.microsoft.com/office/drawing/2014/main" id="{0D3A9251-8DDE-5645-A5E6-05252027CB67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72990" y="480036"/>
            <a:ext cx="6473384" cy="58421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54053765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lationship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7" name="Chart Placeholder 2">
            <a:extLst>
              <a:ext uri="{FF2B5EF4-FFF2-40B4-BE49-F238E27FC236}">
                <a16:creationId xmlns:a16="http://schemas.microsoft.com/office/drawing/2014/main" id="{EE9D8C2D-6009-E241-927E-DCA448CE1551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72990" y="480036"/>
            <a:ext cx="10614480" cy="294896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BF8A4BB-0757-614E-976B-F8370CA8D2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17172" y="4450192"/>
            <a:ext cx="7369678" cy="726945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Relationship Chart 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CE3D7CF9-B30F-F746-9371-4D19F57D37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17172" y="5377099"/>
            <a:ext cx="4378828" cy="1162922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Place a small paragraph regarding the chart here. This text box can also be deleted. Place a small paragraph regarding the chart here. 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D8D86B0-B7DA-FB4B-800C-8AF0E1E9EE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94330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B33CF1-3C03-5F41-AA7B-6C8052D1D6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01" y="1510687"/>
            <a:ext cx="11302538" cy="4386322"/>
          </a:xfrm>
        </p:spPr>
        <p:txBody>
          <a:bodyPr numCol="2">
            <a:normAutofit/>
          </a:bodyPr>
          <a:lstStyle>
            <a:lvl1pPr marL="0" indent="0" fontAlgn="base">
              <a:lnSpc>
                <a:spcPct val="10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copy here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792745-7FC8-5649-A0BD-61F54CC2FA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8DE1917-5CD2-5B4E-AFD4-DEEBF6D409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61505561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B33CF1-3C03-5F41-AA7B-6C8052D1D6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01" y="1559847"/>
            <a:ext cx="11302538" cy="4386322"/>
          </a:xfrm>
        </p:spPr>
        <p:txBody>
          <a:bodyPr numCol="2">
            <a:normAutofit/>
          </a:bodyPr>
          <a:lstStyle>
            <a:lvl1pPr marL="0" indent="0" fontAlgn="base">
              <a:lnSpc>
                <a:spcPct val="10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copy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792745-7FC8-5649-A0BD-61F54CC2FA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8DE1917-5CD2-5B4E-AFD4-DEEBF6D409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9"/>
            <a:ext cx="11302538" cy="68854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0FDA0F4-EA82-F640-8DF1-4719D584C1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501" y="1142768"/>
            <a:ext cx="11302538" cy="407767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Subhead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54258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EAD816-52FA-444F-ACC3-C06C773E8E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69763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D492F5-E776-EF48-8AE7-7A489C3E26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A7BD07-FE97-3547-B6B1-C88A10DAA7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501" y="1622323"/>
            <a:ext cx="11302538" cy="4333158"/>
          </a:xfrm>
        </p:spPr>
        <p:txBody>
          <a:bodyPr>
            <a:normAutofit/>
          </a:bodyPr>
          <a:lstStyle>
            <a:lvl1pPr>
              <a:defRPr sz="1800" b="0" i="0">
                <a:latin typeface="AmericanSans" panose="02000000000000000000" pitchFamily="2" charset="77"/>
              </a:defRPr>
            </a:lvl1pPr>
            <a:lvl2pPr>
              <a:defRPr sz="1600" b="0" i="0">
                <a:latin typeface="AmericanSans" panose="02000000000000000000" pitchFamily="2" charset="77"/>
              </a:defRPr>
            </a:lvl2pPr>
            <a:lvl3pPr>
              <a:defRPr sz="1600" b="0" i="0">
                <a:latin typeface="AmericanSans" panose="02000000000000000000" pitchFamily="2" charset="77"/>
              </a:defRPr>
            </a:lvl3pPr>
            <a:lvl4pPr>
              <a:defRPr sz="1600" b="0" i="0">
                <a:latin typeface="AmericanSans" panose="02000000000000000000" pitchFamily="2" charset="77"/>
              </a:defRPr>
            </a:lvl4pPr>
            <a:lvl5pPr>
              <a:defRPr sz="1600" b="0" i="0"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6440EED-D5E3-2B49-B0FA-F9A73048EE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693397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FLIGHT SYMBOL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A7BD07-FE97-3547-B6B1-C88A10DAA7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501" y="1622323"/>
            <a:ext cx="11302538" cy="4333158"/>
          </a:xfrm>
        </p:spPr>
        <p:txBody>
          <a:bodyPr>
            <a:normAutofit/>
          </a:bodyPr>
          <a:lstStyle>
            <a:lvl1pPr>
              <a:defRPr sz="1800" b="0" i="0">
                <a:latin typeface="AmericanSans" panose="02000000000000000000" pitchFamily="2" charset="77"/>
              </a:defRPr>
            </a:lvl1pPr>
            <a:lvl2pPr>
              <a:defRPr sz="1600" b="0" i="0">
                <a:latin typeface="AmericanSans" panose="02000000000000000000" pitchFamily="2" charset="77"/>
              </a:defRPr>
            </a:lvl2pPr>
            <a:lvl3pPr>
              <a:defRPr sz="1600" b="0" i="0">
                <a:latin typeface="AmericanSans" panose="02000000000000000000" pitchFamily="2" charset="77"/>
              </a:defRPr>
            </a:lvl3pPr>
            <a:lvl4pPr>
              <a:defRPr sz="1600" b="0" i="0">
                <a:latin typeface="AmericanSans" panose="02000000000000000000" pitchFamily="2" charset="77"/>
              </a:defRPr>
            </a:lvl4pPr>
            <a:lvl5pPr>
              <a:defRPr sz="1600" b="0" i="0"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6440EED-D5E3-2B49-B0FA-F9A73048EE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483358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D492F5-E776-EF48-8AE7-7A489C3E26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A7BD07-FE97-3547-B6B1-C88A10DAA7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501" y="1622323"/>
            <a:ext cx="11302538" cy="4333158"/>
          </a:xfrm>
        </p:spPr>
        <p:txBody>
          <a:bodyPr>
            <a:normAutofit/>
          </a:bodyPr>
          <a:lstStyle>
            <a:lvl1pPr>
              <a:defRPr sz="1800" b="0" i="0">
                <a:latin typeface="AmericanSans" panose="02000000000000000000" pitchFamily="2" charset="77"/>
              </a:defRPr>
            </a:lvl1pPr>
            <a:lvl2pPr>
              <a:defRPr sz="1600" b="0" i="0">
                <a:latin typeface="AmericanSans" panose="02000000000000000000" pitchFamily="2" charset="77"/>
              </a:defRPr>
            </a:lvl2pPr>
            <a:lvl3pPr>
              <a:defRPr sz="1600" b="0" i="0">
                <a:latin typeface="AmericanSans" panose="02000000000000000000" pitchFamily="2" charset="77"/>
              </a:defRPr>
            </a:lvl3pPr>
            <a:lvl4pPr>
              <a:defRPr sz="1600" b="0" i="0">
                <a:latin typeface="AmericanSans" panose="02000000000000000000" pitchFamily="2" charset="77"/>
              </a:defRPr>
            </a:lvl4pPr>
            <a:lvl5pPr>
              <a:defRPr sz="1600" b="0" i="0"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503B4C7-4CA0-6F41-8108-5C3DAE181E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9"/>
            <a:ext cx="11302538" cy="68854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1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35B2DA6-6F3A-3844-9446-A57BEFC630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501" y="1142768"/>
            <a:ext cx="11302538" cy="407767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Subhead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686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FLIGHT SYMBOL_Title, Subhead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A7BD07-FE97-3547-B6B1-C88A10DAA7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501" y="1622323"/>
            <a:ext cx="11302538" cy="4333158"/>
          </a:xfrm>
        </p:spPr>
        <p:txBody>
          <a:bodyPr>
            <a:normAutofit/>
          </a:bodyPr>
          <a:lstStyle>
            <a:lvl1pPr>
              <a:defRPr sz="1800" b="0" i="0">
                <a:latin typeface="AmericanSans" panose="02000000000000000000" pitchFamily="2" charset="77"/>
              </a:defRPr>
            </a:lvl1pPr>
            <a:lvl2pPr>
              <a:defRPr sz="1600" b="0" i="0">
                <a:latin typeface="AmericanSans" panose="02000000000000000000" pitchFamily="2" charset="77"/>
              </a:defRPr>
            </a:lvl2pPr>
            <a:lvl3pPr>
              <a:defRPr sz="1600" b="0" i="0">
                <a:latin typeface="AmericanSans" panose="02000000000000000000" pitchFamily="2" charset="77"/>
              </a:defRPr>
            </a:lvl3pPr>
            <a:lvl4pPr>
              <a:defRPr sz="1600" b="0" i="0">
                <a:latin typeface="AmericanSans" panose="02000000000000000000" pitchFamily="2" charset="77"/>
              </a:defRPr>
            </a:lvl4pPr>
            <a:lvl5pPr>
              <a:defRPr sz="1600" b="0" i="0"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503B4C7-4CA0-6F41-8108-5C3DAE181E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9"/>
            <a:ext cx="11302538" cy="688548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1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35B2DA6-6F3A-3844-9446-A57BEFC630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501" y="1142768"/>
            <a:ext cx="11302538" cy="407767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Subhead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425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DF0D2A-0B3F-6946-8EF7-37C389D006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23660" y="1277327"/>
            <a:ext cx="8405078" cy="1219200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D492F5-E776-EF48-8AE7-7A489C3E26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E18CAF6-CF1F-4F48-A6F6-9A91F7BCADC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723660" y="2794000"/>
            <a:ext cx="9211040" cy="3161480"/>
          </a:xfrm>
        </p:spPr>
        <p:txBody>
          <a:bodyPr>
            <a:normAutofit/>
          </a:bodyPr>
          <a:lstStyle>
            <a:lvl1pPr>
              <a:defRPr sz="1800" b="0" i="0">
                <a:latin typeface="AmericanSans" panose="02000000000000000000" pitchFamily="2" charset="77"/>
              </a:defRPr>
            </a:lvl1pPr>
            <a:lvl2pPr>
              <a:defRPr sz="1600" b="0" i="0">
                <a:latin typeface="AmericanSans" panose="02000000000000000000" pitchFamily="2" charset="77"/>
              </a:defRPr>
            </a:lvl2pPr>
            <a:lvl3pPr>
              <a:defRPr sz="1600" b="0" i="0">
                <a:latin typeface="AmericanSans" panose="02000000000000000000" pitchFamily="2" charset="77"/>
              </a:defRPr>
            </a:lvl3pPr>
            <a:lvl4pPr>
              <a:defRPr sz="1600" b="0" i="0">
                <a:latin typeface="AmericanSans" panose="02000000000000000000" pitchFamily="2" charset="77"/>
              </a:defRPr>
            </a:lvl4pPr>
            <a:lvl5pPr>
              <a:defRPr sz="1600" b="0" i="0"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6274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Image w/ Body Cop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44734A-C7F8-5544-B6AA-25FAEA370BF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8107363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0F5290-F8A5-E349-9CD3-E43011A034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09573" y="2608326"/>
            <a:ext cx="3158171" cy="1390650"/>
          </a:xfr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Picture Title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3A8D03-2BAC-5541-A923-E6E9EB430B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34654" y="4047681"/>
            <a:ext cx="3522663" cy="158432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8299A7-F266-464C-A9C2-A273D5581D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5215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ject Mapp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4EDFB4D-447D-D243-980F-88E1ABB0D997}"/>
              </a:ext>
            </a:extLst>
          </p:cNvPr>
          <p:cNvSpPr/>
          <p:nvPr userDrawn="1"/>
        </p:nvSpPr>
        <p:spPr>
          <a:xfrm>
            <a:off x="1461818" y="2357465"/>
            <a:ext cx="2584174" cy="2385984"/>
          </a:xfrm>
          <a:prstGeom prst="rect">
            <a:avLst/>
          </a:prstGeom>
          <a:solidFill>
            <a:srgbClr val="007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8A0E2A6-9986-F74E-927D-BC7EDBC6F913}"/>
              </a:ext>
            </a:extLst>
          </p:cNvPr>
          <p:cNvSpPr/>
          <p:nvPr userDrawn="1"/>
        </p:nvSpPr>
        <p:spPr>
          <a:xfrm>
            <a:off x="4185092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19CD2A4-9EA7-0A47-A18B-0C7FF8E60F1C}"/>
              </a:ext>
            </a:extLst>
          </p:cNvPr>
          <p:cNvSpPr/>
          <p:nvPr userDrawn="1"/>
        </p:nvSpPr>
        <p:spPr>
          <a:xfrm>
            <a:off x="6908366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4CDA239-D55D-CE49-A4A2-CB54F4683896}"/>
              </a:ext>
            </a:extLst>
          </p:cNvPr>
          <p:cNvSpPr/>
          <p:nvPr userDrawn="1"/>
        </p:nvSpPr>
        <p:spPr>
          <a:xfrm>
            <a:off x="9631639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486D25C-B396-E948-9E8A-C105ADA4A71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 flipH="1">
            <a:off x="1624162" y="2594344"/>
            <a:ext cx="1520456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414C43F0-B08A-8644-BEEE-9B80A5B79B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96582" y="2594345"/>
            <a:ext cx="1680424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D3455E-5F14-A24A-A459-95F81F6EF2C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24162" y="359328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C365794-0B51-AC44-BF7A-29191E3347B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46577" y="2608522"/>
            <a:ext cx="1538657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A8E5F349-7158-3D47-93B2-79611570B16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52357" y="2601433"/>
            <a:ext cx="1758396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4B95D5-7FC0-D647-B638-168A7ED2A1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4A19D7C2-626A-3E46-81CA-3E18C22753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9838A5E-9E86-5848-8CE5-F0758E827E8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396582" y="359328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E2A27B9-0BA0-554C-840B-C59FF54387E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46577" y="359328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A1FDCF7-A79E-2346-B06B-FCD23CFE44A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47169" y="359328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</p:spTree>
    <p:extLst>
      <p:ext uri="{BB962C8B-B14F-4D97-AF65-F5344CB8AC3E}">
        <p14:creationId xmlns:p14="http://schemas.microsoft.com/office/powerpoint/2010/main" val="322458467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Mapp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4EDFB4D-447D-D243-980F-88E1ABB0D997}"/>
              </a:ext>
            </a:extLst>
          </p:cNvPr>
          <p:cNvSpPr/>
          <p:nvPr userDrawn="1"/>
        </p:nvSpPr>
        <p:spPr>
          <a:xfrm>
            <a:off x="85061" y="2368097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8A0E2A6-9986-F74E-927D-BC7EDBC6F913}"/>
              </a:ext>
            </a:extLst>
          </p:cNvPr>
          <p:cNvSpPr/>
          <p:nvPr userDrawn="1"/>
        </p:nvSpPr>
        <p:spPr>
          <a:xfrm>
            <a:off x="2827452" y="2368097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19CD2A4-9EA7-0A47-A18B-0C7FF8E60F1C}"/>
              </a:ext>
            </a:extLst>
          </p:cNvPr>
          <p:cNvSpPr/>
          <p:nvPr userDrawn="1"/>
        </p:nvSpPr>
        <p:spPr>
          <a:xfrm>
            <a:off x="5572392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4CDA239-D55D-CE49-A4A2-CB54F4683896}"/>
              </a:ext>
            </a:extLst>
          </p:cNvPr>
          <p:cNvSpPr/>
          <p:nvPr userDrawn="1"/>
        </p:nvSpPr>
        <p:spPr>
          <a:xfrm>
            <a:off x="8314783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8FE0F6D-137D-AA42-8FC8-4FF55A5E7AA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33437" y="2604977"/>
            <a:ext cx="1276386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390A3B2-9555-2740-912D-52ED0EBE081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053334" y="2608520"/>
            <a:ext cx="1379169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637A4BEB-6926-EF4A-86DE-4D1BD7E24F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801352" y="2590800"/>
            <a:ext cx="1428787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2911AE25-5205-9B48-AFEB-4DD39838F7B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546821" y="2594345"/>
            <a:ext cx="1478407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8658060-DE13-CD43-82B9-C621D3339B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1A96D0D-6A10-BA4F-88B3-A1373782EF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F88D97E-EBD8-3B40-94E1-5BA05EDE09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9436" y="3625703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82441CF0-7376-3240-9ABF-85CFBEBDD30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053334" y="362570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59B43D2-E9C2-E34E-8970-B478A051D7D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799598" y="3625701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581C4E8-FCDC-F049-BE88-3FC03B28DD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543263" y="3625700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</p:spTree>
    <p:extLst>
      <p:ext uri="{BB962C8B-B14F-4D97-AF65-F5344CB8AC3E}">
        <p14:creationId xmlns:p14="http://schemas.microsoft.com/office/powerpoint/2010/main" val="328840374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YAWWF_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E1344B8-AE46-8447-A782-7EC7F96B4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5564" y="5244389"/>
            <a:ext cx="4635500" cy="1068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97803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YAWWF_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E1344B8-AE46-8447-A782-7EC7F96B4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6064" y="5117389"/>
            <a:ext cx="4635500" cy="1068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97313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YAWWF_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E1344B8-AE46-8447-A782-7EC7F96B4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9008" y="506942"/>
            <a:ext cx="4635500" cy="1068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05929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7623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83ACD7-27EE-CC48-8599-FA698431291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692119" y="1192260"/>
            <a:ext cx="2199190" cy="3406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dirty="0">
                <a:solidFill>
                  <a:schemeClr val="bg1"/>
                </a:solidFill>
                <a:latin typeface="AmericanSans" panose="02000000000000000000" pitchFamily="2" charset="77"/>
              </a:rPr>
              <a:t>January 1, 202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BF77620-DD25-904E-A8B8-CF3DB84AD8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17172" y="1282414"/>
            <a:ext cx="3573826" cy="687003"/>
          </a:xfrm>
        </p:spPr>
        <p:txBody>
          <a:bodyPr/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3B84278-9197-2A43-B591-062BB4D79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43441" y="2330970"/>
            <a:ext cx="8955039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DD77659D-F558-AC41-9B8E-4FBED8B0C8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9086" y="3306329"/>
            <a:ext cx="8955039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FA33482-AF8F-C045-81DE-A287F27BA88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52151" y="4265022"/>
            <a:ext cx="8941974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E120FCF0-C3D8-EB46-B7D4-1EC38C310FB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47796" y="5266507"/>
            <a:ext cx="8941974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8EB9E7-2746-BA42-8733-B0F969B59181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76EBE57-D58F-6C43-B73C-E8D8F44A1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3667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/3 Image w/ Body Cop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44734A-C7F8-5544-B6AA-25FAEA370BF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2709" y="0"/>
            <a:ext cx="8107363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A8E2A2F-BF30-4647-8E4E-767DDCA3B1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7969" y="3096133"/>
            <a:ext cx="3307642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CFAE2B4-3795-4142-8DC4-4D3AF0C34B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163" y="3901439"/>
            <a:ext cx="3205071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AA990C0-6C96-4D4B-8D09-C6A0CA9F99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6065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Image w/ Body Copy Left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0F66054-0B17-A140-A55C-7E5A7E3E477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24613" y="3108198"/>
            <a:ext cx="4218875" cy="902907"/>
          </a:xfr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Picture Title</a:t>
            </a:r>
            <a:endParaRPr lang="en-US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25A0539-B78E-C749-B676-89656F4125E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49694" y="4011105"/>
            <a:ext cx="3522663" cy="158432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29CDA2-8874-6C4E-B312-259561EC792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0"/>
            <a:ext cx="6108700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05BBC8-8583-C04F-A4FF-8C06AE9D08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6097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Top w/ Body Copy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3DE534F-87A0-624A-866F-649E420E4D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35749" y="4620006"/>
            <a:ext cx="4718747" cy="720090"/>
          </a:xfr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Picture Title</a:t>
            </a:r>
            <a:endParaRPr lang="en-US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3D5CAC0-334C-2F4E-80F2-C55ACF1953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60830" y="5327841"/>
            <a:ext cx="4697466" cy="977956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3DEF3A-B4D0-5D40-9695-87FF02B91FE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0"/>
            <a:ext cx="12192000" cy="412115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ADA9B79-2FA6-A34D-9045-78490B77C47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92108" y="4660842"/>
            <a:ext cx="4960702" cy="158557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54A7B3A-46D3-7B4B-8549-EB4B66F15C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0205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in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3DEF3A-B4D0-5D40-9695-87FF02B91FE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1158117"/>
            <a:ext cx="12192000" cy="412115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528475-5325-2D4F-A674-B8D2E74665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8902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EE4F6E5-172A-3245-84BD-FFCCE740CD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95388" y="292100"/>
            <a:ext cx="10045700" cy="6230938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56BABA-5D2B-AC47-A96B-B6FD438261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4355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53059155-DD42-154D-B9E7-E8925485768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106904" y="963460"/>
            <a:ext cx="3110427" cy="5100456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2713CE83-68EB-DF40-AD31-DE2243FB932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8879" y="963460"/>
            <a:ext cx="3108960" cy="51023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3AB530D-1229-A34B-838F-AD318CFC30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9387" y="965071"/>
            <a:ext cx="3108960" cy="51023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3D9C99-8EB7-DD40-9022-221B1B7DEE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9217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0EFFF4E8-B865-3644-88C4-013CEA6CDFB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950107" y="1789910"/>
            <a:ext cx="2584175" cy="34159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486C5F1D-6DA2-9541-8AFD-BB4A68C9BF5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95389" y="1789910"/>
            <a:ext cx="2584175" cy="34159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37466E48-6004-664E-8E7D-665770A7502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40672" y="1789910"/>
            <a:ext cx="2584175" cy="34159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E1DE458-C898-2E47-8F35-C043D66955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5954" y="1789910"/>
            <a:ext cx="2584175" cy="34159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9219FCE-EC1E-E049-8D82-ED2A38410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3715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 Screen Image w/ Body Cop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F7F630-17F4-6543-8ECD-44C4D95378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3944" y="1022732"/>
            <a:ext cx="7638056" cy="5147109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F6F9702-5923-BD4E-8DDB-45964A07B2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969" y="2462149"/>
            <a:ext cx="4402138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A21152A-0C25-3643-B766-DB829FB5C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163" y="3267455"/>
            <a:ext cx="4389437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F7C2D6A-EB6A-934D-8849-AC5310D8552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081713" y="1722438"/>
            <a:ext cx="4603750" cy="26162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34FFE22-9EE2-5346-93B0-DFF64541A7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0062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Screen Image w/ Body Copy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C7113D3-5477-9949-AB38-24561C627D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6549" y="1006090"/>
            <a:ext cx="2675164" cy="4845819"/>
          </a:xfrm>
          <a:prstGeom prst="rect">
            <a:avLst/>
          </a:prstGeom>
          <a:effectLst>
            <a:reflection stA="23000" endPos="10000" dir="5400000" sy="-100000" algn="bl" rotWithShape="0"/>
          </a:effectLst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FD4329C-A3A7-934A-B6BC-79F3C228E6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969" y="2462149"/>
            <a:ext cx="4402138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2F74A6B-2C59-C141-A1E8-39B60CA7C7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163" y="3267455"/>
            <a:ext cx="4389437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6360DB4-B710-F840-97BD-56F986CD02D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7421563" y="1616074"/>
            <a:ext cx="2041525" cy="3636409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BAADBE-A9DA-DC40-9187-0EE293BB7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9974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Screen Image w/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FD4329C-A3A7-934A-B6BC-79F3C228E6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969" y="2462149"/>
            <a:ext cx="4402138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2F74A6B-2C59-C141-A1E8-39B60CA7C7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163" y="3267455"/>
            <a:ext cx="4389437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BAADBE-A9DA-DC40-9187-0EE293BB7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F4BB097-01F7-9848-A2FD-D747F9E72D5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9227" y="263258"/>
            <a:ext cx="4261373" cy="6285740"/>
          </a:xfrm>
          <a:prstGeom prst="rect">
            <a:avLst/>
          </a:prstGeom>
          <a:effectLst>
            <a:reflection blurRad="6350" stA="23000" endPos="10000" dir="5400000" sy="-100000" algn="bl" rotWithShape="0"/>
          </a:effectLst>
        </p:spPr>
      </p:pic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2EB935E5-A45B-9047-BABB-260069AB35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772060" y="935026"/>
            <a:ext cx="3705240" cy="4912415"/>
          </a:xfrm>
          <a:custGeom>
            <a:avLst/>
            <a:gdLst>
              <a:gd name="connsiteX0" fmla="*/ 0 w 2820838"/>
              <a:gd name="connsiteY0" fmla="*/ 0 h 3735238"/>
              <a:gd name="connsiteX1" fmla="*/ 2820838 w 2820838"/>
              <a:gd name="connsiteY1" fmla="*/ 0 h 3735238"/>
              <a:gd name="connsiteX2" fmla="*/ 2820838 w 2820838"/>
              <a:gd name="connsiteY2" fmla="*/ 3735238 h 3735238"/>
              <a:gd name="connsiteX3" fmla="*/ 0 w 2820838"/>
              <a:gd name="connsiteY3" fmla="*/ 3735238 h 373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20838" h="3735238">
                <a:moveTo>
                  <a:pt x="0" y="0"/>
                </a:moveTo>
                <a:lnTo>
                  <a:pt x="2820838" y="0"/>
                </a:lnTo>
                <a:lnTo>
                  <a:pt x="2820838" y="3735238"/>
                </a:lnTo>
                <a:lnTo>
                  <a:pt x="0" y="3735238"/>
                </a:ln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>
                <a:alpha val="81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363293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83ACD7-27EE-CC48-8599-FA698431291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692119" y="1192260"/>
            <a:ext cx="2199190" cy="3406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dirty="0">
                <a:solidFill>
                  <a:schemeClr val="bg1"/>
                </a:solidFill>
                <a:latin typeface="AmericanSans" panose="02000000000000000000" pitchFamily="2" charset="77"/>
              </a:rPr>
              <a:t>January 1, 202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BF77620-DD25-904E-A8B8-CF3DB84AD8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17172" y="1282414"/>
            <a:ext cx="3573826" cy="687003"/>
          </a:xfrm>
        </p:spPr>
        <p:txBody>
          <a:bodyPr/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8EB9E7-2746-BA42-8733-B0F969B59181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681516DD-C626-F249-9CC5-E722FA4A3885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>
          <a:xfrm flipH="1">
            <a:off x="1786973" y="2533537"/>
            <a:ext cx="212241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68E13D9-3750-3448-9429-C0C222364975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>
          <a:xfrm flipH="1">
            <a:off x="4201942" y="2533298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B086BE04-9DD8-E541-B9DB-6866097F71BD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 flipH="1">
            <a:off x="6616911" y="2533298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D3A07B5-3929-E841-A580-4C5440BC2640}"/>
              </a:ext>
            </a:extLst>
          </p:cNvPr>
          <p:cNvSpPr>
            <a:spLocks noGrp="1" noChangeAspect="1"/>
          </p:cNvSpPr>
          <p:nvPr>
            <p:ph type="body" sz="quarter" idx="33" hasCustomPrompt="1"/>
          </p:nvPr>
        </p:nvSpPr>
        <p:spPr>
          <a:xfrm flipH="1">
            <a:off x="9035524" y="2533297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A65C6345-B921-7742-A4E6-F4C2AB64C419}"/>
              </a:ext>
            </a:extLst>
          </p:cNvPr>
          <p:cNvSpPr>
            <a:spLocks noGrp="1" noChangeAspect="1"/>
          </p:cNvSpPr>
          <p:nvPr>
            <p:ph type="body" sz="quarter" idx="34" hasCustomPrompt="1"/>
          </p:nvPr>
        </p:nvSpPr>
        <p:spPr>
          <a:xfrm flipH="1">
            <a:off x="1786973" y="4570435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F72122D9-FAF6-A246-B0F2-AA9015838054}"/>
              </a:ext>
            </a:extLst>
          </p:cNvPr>
          <p:cNvSpPr>
            <a:spLocks noGrp="1" noChangeAspect="1"/>
          </p:cNvSpPr>
          <p:nvPr>
            <p:ph type="body" sz="quarter" idx="35" hasCustomPrompt="1"/>
          </p:nvPr>
        </p:nvSpPr>
        <p:spPr>
          <a:xfrm flipH="1">
            <a:off x="4221817" y="4570435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DF681123-F126-204E-91C9-F3BD27546B49}"/>
              </a:ext>
            </a:extLst>
          </p:cNvPr>
          <p:cNvSpPr>
            <a:spLocks noGrp="1" noChangeAspect="1"/>
          </p:cNvSpPr>
          <p:nvPr>
            <p:ph type="body" sz="quarter" idx="36" hasCustomPrompt="1"/>
          </p:nvPr>
        </p:nvSpPr>
        <p:spPr>
          <a:xfrm flipH="1">
            <a:off x="6616911" y="4570435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F6735F22-7C4A-1644-B7AD-5FD402690406}"/>
              </a:ext>
            </a:extLst>
          </p:cNvPr>
          <p:cNvSpPr>
            <a:spLocks noGrp="1" noChangeAspect="1"/>
          </p:cNvSpPr>
          <p:nvPr>
            <p:ph type="body" sz="quarter" idx="37" hasCustomPrompt="1"/>
          </p:nvPr>
        </p:nvSpPr>
        <p:spPr>
          <a:xfrm flipH="1">
            <a:off x="9035524" y="4570435"/>
            <a:ext cx="2121408" cy="1828800"/>
          </a:xfrm>
          <a:solidFill>
            <a:srgbClr val="D0DADF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537354-16F5-3248-AE41-F4AC25CD97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2301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and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EAD816-52FA-444F-ACC3-C06C773E8E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C1D9757-D430-324B-B9A3-CB630C2884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5535" y="-743619"/>
            <a:ext cx="8345237" cy="8345237"/>
          </a:xfrm>
          <a:prstGeom prst="rect">
            <a:avLst/>
          </a:prstGeom>
        </p:spPr>
      </p:pic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D9E87076-ED09-C74F-B234-90F536C1BA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28026" y="762584"/>
            <a:ext cx="7509753" cy="4226492"/>
          </a:xfrm>
          <a:custGeom>
            <a:avLst/>
            <a:gdLst>
              <a:gd name="connsiteX0" fmla="*/ 0 w 4839419"/>
              <a:gd name="connsiteY0" fmla="*/ 0 h 2777706"/>
              <a:gd name="connsiteX1" fmla="*/ 4839419 w 4839419"/>
              <a:gd name="connsiteY1" fmla="*/ 0 h 2777706"/>
              <a:gd name="connsiteX2" fmla="*/ 4839419 w 4839419"/>
              <a:gd name="connsiteY2" fmla="*/ 2777706 h 2777706"/>
              <a:gd name="connsiteX3" fmla="*/ 0 w 4839419"/>
              <a:gd name="connsiteY3" fmla="*/ 2777706 h 2777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39419" h="2777706">
                <a:moveTo>
                  <a:pt x="0" y="0"/>
                </a:moveTo>
                <a:lnTo>
                  <a:pt x="4839419" y="0"/>
                </a:lnTo>
                <a:lnTo>
                  <a:pt x="4839419" y="2777706"/>
                </a:lnTo>
                <a:lnTo>
                  <a:pt x="0" y="2777706"/>
                </a:ln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25400">
              <a:prstClr val="black">
                <a:alpha val="58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F41D199-27D1-ED41-B44B-16823471D60C}"/>
              </a:ext>
            </a:extLst>
          </p:cNvPr>
          <p:cNvGrpSpPr/>
          <p:nvPr userDrawn="1"/>
        </p:nvGrpSpPr>
        <p:grpSpPr>
          <a:xfrm>
            <a:off x="205701" y="436764"/>
            <a:ext cx="3343315" cy="6026498"/>
            <a:chOff x="7871044" y="199745"/>
            <a:chExt cx="3670329" cy="661595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016A417-8E35-674B-9522-03F52D4261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6DF42CE-8610-2C40-835F-C026A6482132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FB06323-1077-1343-8951-4F9C8E6FF64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39205" y="575627"/>
            <a:ext cx="2755874" cy="5390145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96114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EAD816-52FA-444F-ACC3-C06C773E8E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B8895BBD-FB6C-FC49-8CB2-9C2E2057777B}"/>
              </a:ext>
            </a:extLst>
          </p:cNvPr>
          <p:cNvGrpSpPr/>
          <p:nvPr userDrawn="1"/>
        </p:nvGrpSpPr>
        <p:grpSpPr>
          <a:xfrm>
            <a:off x="0" y="663625"/>
            <a:ext cx="3180877" cy="5733695"/>
            <a:chOff x="7871044" y="199745"/>
            <a:chExt cx="3670329" cy="6615958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0E22972-1B56-1F43-8707-BB055B85F1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9C70B68D-C821-4941-95B9-7ED1D3555D4D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9F519B3-C9BD-6C4E-B9A4-BD54F4B4F59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32743" y="794980"/>
            <a:ext cx="2560630" cy="5057980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210E530-B44C-3E41-928F-DF042440DEF7}"/>
              </a:ext>
            </a:extLst>
          </p:cNvPr>
          <p:cNvGrpSpPr/>
          <p:nvPr userDrawn="1"/>
        </p:nvGrpSpPr>
        <p:grpSpPr>
          <a:xfrm>
            <a:off x="2976880" y="663625"/>
            <a:ext cx="3180877" cy="5733695"/>
            <a:chOff x="7871044" y="199745"/>
            <a:chExt cx="3670329" cy="6615958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C8B8BF5-E214-9E4A-BA73-00B5226196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E89A5EFE-5F6C-884E-9B32-661E054CBE17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87214D4E-0F1A-624A-A09C-211D22FB8100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3409623" y="794980"/>
            <a:ext cx="2560630" cy="5057980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9708C2D-AE97-A94C-A8CD-7DE61A848106}"/>
              </a:ext>
            </a:extLst>
          </p:cNvPr>
          <p:cNvGrpSpPr/>
          <p:nvPr userDrawn="1"/>
        </p:nvGrpSpPr>
        <p:grpSpPr>
          <a:xfrm>
            <a:off x="5974080" y="663625"/>
            <a:ext cx="3180877" cy="5733695"/>
            <a:chOff x="7871044" y="199745"/>
            <a:chExt cx="3670329" cy="6615958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4440BAAD-BF7C-4345-A3B8-5D49B3F587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E263B2E2-79F5-6C44-B7E1-B442C2A3E9B2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2DEF7FB6-832E-5343-A125-9E08021A7118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406823" y="794980"/>
            <a:ext cx="2560630" cy="5057980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3E3F472-D6B5-5A4D-A7F5-8B22745006A6}"/>
              </a:ext>
            </a:extLst>
          </p:cNvPr>
          <p:cNvGrpSpPr/>
          <p:nvPr userDrawn="1"/>
        </p:nvGrpSpPr>
        <p:grpSpPr>
          <a:xfrm>
            <a:off x="8950960" y="663625"/>
            <a:ext cx="3180877" cy="5733695"/>
            <a:chOff x="7871044" y="199745"/>
            <a:chExt cx="3670329" cy="6615958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8DBED865-23BD-1443-AC36-5FC2B90658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DB7B73D-89AE-A14A-B3EC-231DFDA1DC4D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80E299BD-ED3C-4043-8755-E6135E725CB8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9383703" y="794980"/>
            <a:ext cx="2560630" cy="5057980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82268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3" grpId="0" animBg="1"/>
      <p:bldP spid="27" grpId="0" animBg="1"/>
      <p:bldP spid="31" grpId="0" animBg="1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/Grap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D337B06-23DB-184A-A321-4AB2B99FB1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31653" y="2620645"/>
            <a:ext cx="3554839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45F63A0-E3DF-344B-9955-922C141F50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33146" y="4047275"/>
            <a:ext cx="3541623" cy="117157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chart here. 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3FB88286-CE9A-1A48-8D87-5B193BD14EF5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72990" y="480036"/>
            <a:ext cx="6870700" cy="57451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chart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AF94283-B4C9-A947-AB73-CC28F1CAF4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4702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lationship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D337B06-23DB-184A-A321-4AB2B99FB1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485505" y="2620645"/>
            <a:ext cx="3600987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Relationship Chart 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45F63A0-E3DF-344B-9955-922C141F50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33146" y="4047275"/>
            <a:ext cx="3541623" cy="117157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Place a small paragraph regarding the chart here.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C90C349-4936-854C-8D33-4042AA00B5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5" name="Chart Placeholder 2">
            <a:extLst>
              <a:ext uri="{FF2B5EF4-FFF2-40B4-BE49-F238E27FC236}">
                <a16:creationId xmlns:a16="http://schemas.microsoft.com/office/drawing/2014/main" id="{0D3A9251-8DDE-5645-A5E6-05252027CB67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72990" y="480036"/>
            <a:ext cx="6473384" cy="58421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15699598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lationship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7" name="Chart Placeholder 2">
            <a:extLst>
              <a:ext uri="{FF2B5EF4-FFF2-40B4-BE49-F238E27FC236}">
                <a16:creationId xmlns:a16="http://schemas.microsoft.com/office/drawing/2014/main" id="{EE9D8C2D-6009-E241-927E-DCA448CE1551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72990" y="480036"/>
            <a:ext cx="10614480" cy="294896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BF8A4BB-0757-614E-976B-F8370CA8D2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17172" y="4450192"/>
            <a:ext cx="7369678" cy="726945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Relationship Chart 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CE3D7CF9-B30F-F746-9371-4D19F57D37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17172" y="5377099"/>
            <a:ext cx="4378828" cy="1162922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Place a small paragraph regarding the chart here. This text box can also be deleted. Place a small paragraph regarding the chart here. 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D8D86B0-B7DA-FB4B-800C-8AF0E1E9EE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3727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B33CF1-3C03-5F41-AA7B-6C8052D1D6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01" y="1510687"/>
            <a:ext cx="11302538" cy="4386322"/>
          </a:xfrm>
        </p:spPr>
        <p:txBody>
          <a:bodyPr numCol="2">
            <a:normAutofit/>
          </a:bodyPr>
          <a:lstStyle>
            <a:lvl1pPr marL="0" indent="0" fontAlgn="base">
              <a:lnSpc>
                <a:spcPct val="10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copy here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792745-7FC8-5649-A0BD-61F54CC2FA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8DE1917-5CD2-5B4E-AFD4-DEEBF6D409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0440719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B33CF1-3C03-5F41-AA7B-6C8052D1D6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01" y="1559847"/>
            <a:ext cx="11302538" cy="4386322"/>
          </a:xfrm>
        </p:spPr>
        <p:txBody>
          <a:bodyPr numCol="2">
            <a:normAutofit/>
          </a:bodyPr>
          <a:lstStyle>
            <a:lvl1pPr marL="0" indent="0" fontAlgn="base">
              <a:lnSpc>
                <a:spcPct val="10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copy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792745-7FC8-5649-A0BD-61F54CC2FA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8DE1917-5CD2-5B4E-AFD4-DEEBF6D409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9"/>
            <a:ext cx="11302538" cy="68854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0FDA0F4-EA82-F640-8DF1-4719D584C1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501" y="1142768"/>
            <a:ext cx="11302538" cy="407767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Subhead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7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EAD816-52FA-444F-ACC3-C06C773E8E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6807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D492F5-E776-EF48-8AE7-7A489C3E26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A7BD07-FE97-3547-B6B1-C88A10DAA7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501" y="1622323"/>
            <a:ext cx="11302538" cy="4333158"/>
          </a:xfrm>
        </p:spPr>
        <p:txBody>
          <a:bodyPr>
            <a:normAutofit/>
          </a:bodyPr>
          <a:lstStyle>
            <a:lvl1pPr>
              <a:defRPr sz="1800" b="0" i="0">
                <a:latin typeface="AmericanSans" panose="02000000000000000000" pitchFamily="2" charset="77"/>
              </a:defRPr>
            </a:lvl1pPr>
            <a:lvl2pPr>
              <a:defRPr sz="1600" b="0" i="0">
                <a:latin typeface="AmericanSans" panose="02000000000000000000" pitchFamily="2" charset="77"/>
              </a:defRPr>
            </a:lvl2pPr>
            <a:lvl3pPr>
              <a:defRPr sz="1600" b="0" i="0">
                <a:latin typeface="AmericanSans" panose="02000000000000000000" pitchFamily="2" charset="77"/>
              </a:defRPr>
            </a:lvl3pPr>
            <a:lvl4pPr>
              <a:defRPr sz="1600" b="0" i="0">
                <a:latin typeface="AmericanSans" panose="02000000000000000000" pitchFamily="2" charset="77"/>
              </a:defRPr>
            </a:lvl4pPr>
            <a:lvl5pPr>
              <a:defRPr sz="1600" b="0" i="0"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6440EED-D5E3-2B49-B0FA-F9A73048EE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192147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FLIGHT SYMBOL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A7BD07-FE97-3547-B6B1-C88A10DAA7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501" y="1622323"/>
            <a:ext cx="11302538" cy="4333158"/>
          </a:xfrm>
        </p:spPr>
        <p:txBody>
          <a:bodyPr>
            <a:normAutofit/>
          </a:bodyPr>
          <a:lstStyle>
            <a:lvl1pPr>
              <a:defRPr sz="1800" b="0" i="0">
                <a:latin typeface="AmericanSans" panose="02000000000000000000" pitchFamily="2" charset="77"/>
              </a:defRPr>
            </a:lvl1pPr>
            <a:lvl2pPr>
              <a:defRPr sz="1600" b="0" i="0">
                <a:latin typeface="AmericanSans" panose="02000000000000000000" pitchFamily="2" charset="77"/>
              </a:defRPr>
            </a:lvl2pPr>
            <a:lvl3pPr>
              <a:defRPr sz="1600" b="0" i="0">
                <a:latin typeface="AmericanSans" panose="02000000000000000000" pitchFamily="2" charset="77"/>
              </a:defRPr>
            </a:lvl3pPr>
            <a:lvl4pPr>
              <a:defRPr sz="1600" b="0" i="0">
                <a:latin typeface="AmericanSans" panose="02000000000000000000" pitchFamily="2" charset="77"/>
              </a:defRPr>
            </a:lvl4pPr>
            <a:lvl5pPr>
              <a:defRPr sz="1600" b="0" i="0"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6440EED-D5E3-2B49-B0FA-F9A73048EE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146222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87113ECF-D558-6343-9EA9-D26C0BEB8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26047793-0769-0F4F-8A1A-EA53AA366F38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0B6606B5-AB41-244D-A481-083D61F996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17172" y="1282414"/>
            <a:ext cx="3945440" cy="687003"/>
          </a:xfrm>
        </p:spPr>
        <p:txBody>
          <a:bodyPr/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7F49F257-122B-1342-A5C8-E06994015C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43441" y="2330970"/>
            <a:ext cx="1352455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CEEB0733-7C4D-AB47-8943-1E66EE3BC7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91042" y="2307806"/>
            <a:ext cx="2471570" cy="687002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9982B6BA-A4F8-604E-8083-EC3893065A6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8367" y="3266323"/>
            <a:ext cx="2471569" cy="687001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EC7FB3EE-55C2-EC45-8B5A-C3E221991D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88370" y="4251824"/>
            <a:ext cx="2471566" cy="6870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1A11A3A2-F7FC-024D-B08B-85CD527C34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85695" y="5210341"/>
            <a:ext cx="2471565" cy="686999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A2D3FFA5-6100-284A-B619-D879ABF148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30431" y="3260977"/>
            <a:ext cx="2468880" cy="6858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E653DCB8-B576-C34D-97FF-79FA7442C8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30433" y="4246477"/>
            <a:ext cx="2468880" cy="6858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63F64038-D074-5446-BD2B-052288BA39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27759" y="5204995"/>
            <a:ext cx="2468880" cy="6858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DA1D93C2-309B-624E-9360-9140E8D3585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527758" y="2307806"/>
            <a:ext cx="2468880" cy="6858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C57D0B18-26B7-2048-8153-4931BC262F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9087" y="3306329"/>
            <a:ext cx="1356810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FFD5E081-880A-584A-871C-1B7B0EB105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52150" y="4265022"/>
            <a:ext cx="1352455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808C7EEA-0A75-084B-9D51-BF243C7BA9C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47796" y="5266507"/>
            <a:ext cx="1356810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A28A7FCF-BB31-0D48-B92E-1C311125427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14654" y="2339679"/>
            <a:ext cx="1352455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F7B5DEFB-876C-3B4E-BCC9-3ADBF8069AB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10300" y="3315038"/>
            <a:ext cx="1356810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810CEB7B-B0A0-E242-B2B0-5EA105AEFB9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23363" y="4273731"/>
            <a:ext cx="1352455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93B58029-A3D2-924F-982D-DB20AC7F6A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19009" y="5275216"/>
            <a:ext cx="1356810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</p:spTree>
    <p:extLst>
      <p:ext uri="{BB962C8B-B14F-4D97-AF65-F5344CB8AC3E}">
        <p14:creationId xmlns:p14="http://schemas.microsoft.com/office/powerpoint/2010/main" val="2321148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6">
          <p15:clr>
            <a:srgbClr val="FBAE40"/>
          </p15:clr>
        </p15:guide>
        <p15:guide id="2" orient="horz" pos="2736">
          <p15:clr>
            <a:srgbClr val="FBAE40"/>
          </p15:clr>
        </p15:guide>
        <p15:guide id="3" orient="horz" pos="3360">
          <p15:clr>
            <a:srgbClr val="FBAE40"/>
          </p15:clr>
        </p15:guide>
        <p15:guide id="4" pos="3912">
          <p15:clr>
            <a:srgbClr val="FBAE40"/>
          </p15:clr>
        </p15:guide>
        <p15:guide id="5" pos="117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D492F5-E776-EF48-8AE7-7A489C3E26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A7BD07-FE97-3547-B6B1-C88A10DAA7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501" y="1622323"/>
            <a:ext cx="11302538" cy="4333158"/>
          </a:xfrm>
        </p:spPr>
        <p:txBody>
          <a:bodyPr>
            <a:normAutofit/>
          </a:bodyPr>
          <a:lstStyle>
            <a:lvl1pPr>
              <a:defRPr sz="1800" b="0" i="0">
                <a:latin typeface="AmericanSans" panose="02000000000000000000" pitchFamily="2" charset="77"/>
              </a:defRPr>
            </a:lvl1pPr>
            <a:lvl2pPr>
              <a:defRPr sz="1600" b="0" i="0">
                <a:latin typeface="AmericanSans" panose="02000000000000000000" pitchFamily="2" charset="77"/>
              </a:defRPr>
            </a:lvl2pPr>
            <a:lvl3pPr>
              <a:defRPr sz="1600" b="0" i="0">
                <a:latin typeface="AmericanSans" panose="02000000000000000000" pitchFamily="2" charset="77"/>
              </a:defRPr>
            </a:lvl3pPr>
            <a:lvl4pPr>
              <a:defRPr sz="1600" b="0" i="0">
                <a:latin typeface="AmericanSans" panose="02000000000000000000" pitchFamily="2" charset="77"/>
              </a:defRPr>
            </a:lvl4pPr>
            <a:lvl5pPr>
              <a:defRPr sz="1600" b="0" i="0"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503B4C7-4CA0-6F41-8108-5C3DAE181E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9"/>
            <a:ext cx="11302538" cy="68854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1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35B2DA6-6F3A-3844-9446-A57BEFC630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501" y="1142768"/>
            <a:ext cx="11302538" cy="407767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Subhead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330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FLIGHT SYMBOL_Title, Subhead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A7BD07-FE97-3547-B6B1-C88A10DAA7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501" y="1622323"/>
            <a:ext cx="11302538" cy="4333158"/>
          </a:xfrm>
        </p:spPr>
        <p:txBody>
          <a:bodyPr>
            <a:normAutofit/>
          </a:bodyPr>
          <a:lstStyle>
            <a:lvl1pPr>
              <a:defRPr sz="1800" b="0" i="0">
                <a:latin typeface="AmericanSans" panose="02000000000000000000" pitchFamily="2" charset="77"/>
              </a:defRPr>
            </a:lvl1pPr>
            <a:lvl2pPr>
              <a:defRPr sz="1600" b="0" i="0">
                <a:latin typeface="AmericanSans" panose="02000000000000000000" pitchFamily="2" charset="77"/>
              </a:defRPr>
            </a:lvl2pPr>
            <a:lvl3pPr>
              <a:defRPr sz="1600" b="0" i="0">
                <a:latin typeface="AmericanSans" panose="02000000000000000000" pitchFamily="2" charset="77"/>
              </a:defRPr>
            </a:lvl3pPr>
            <a:lvl4pPr>
              <a:defRPr sz="1600" b="0" i="0">
                <a:latin typeface="AmericanSans" panose="02000000000000000000" pitchFamily="2" charset="77"/>
              </a:defRPr>
            </a:lvl4pPr>
            <a:lvl5pPr>
              <a:defRPr sz="1600" b="0" i="0"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503B4C7-4CA0-6F41-8108-5C3DAE181E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9"/>
            <a:ext cx="11302538" cy="688548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1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35B2DA6-6F3A-3844-9446-A57BEFC630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501" y="1142768"/>
            <a:ext cx="11302538" cy="407767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Subhead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99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DF0D2A-0B3F-6946-8EF7-37C389D006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23660" y="1277327"/>
            <a:ext cx="8405078" cy="1219200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D492F5-E776-EF48-8AE7-7A489C3E26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E18CAF6-CF1F-4F48-A6F6-9A91F7BCADC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723660" y="2794000"/>
            <a:ext cx="9211040" cy="3161480"/>
          </a:xfrm>
        </p:spPr>
        <p:txBody>
          <a:bodyPr>
            <a:normAutofit/>
          </a:bodyPr>
          <a:lstStyle>
            <a:lvl1pPr>
              <a:defRPr sz="1800" b="0" i="0">
                <a:latin typeface="AmericanSans" panose="02000000000000000000" pitchFamily="2" charset="77"/>
              </a:defRPr>
            </a:lvl1pPr>
            <a:lvl2pPr>
              <a:defRPr sz="1600" b="0" i="0">
                <a:latin typeface="AmericanSans" panose="02000000000000000000" pitchFamily="2" charset="77"/>
              </a:defRPr>
            </a:lvl2pPr>
            <a:lvl3pPr>
              <a:defRPr sz="1600" b="0" i="0">
                <a:latin typeface="AmericanSans" panose="02000000000000000000" pitchFamily="2" charset="77"/>
              </a:defRPr>
            </a:lvl3pPr>
            <a:lvl4pPr>
              <a:defRPr sz="1600" b="0" i="0">
                <a:latin typeface="AmericanSans" panose="02000000000000000000" pitchFamily="2" charset="77"/>
              </a:defRPr>
            </a:lvl4pPr>
            <a:lvl5pPr>
              <a:defRPr sz="1600" b="0" i="0"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9942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ject Mapp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4EDFB4D-447D-D243-980F-88E1ABB0D997}"/>
              </a:ext>
            </a:extLst>
          </p:cNvPr>
          <p:cNvSpPr/>
          <p:nvPr userDrawn="1"/>
        </p:nvSpPr>
        <p:spPr>
          <a:xfrm>
            <a:off x="1461818" y="2357465"/>
            <a:ext cx="2584174" cy="2385984"/>
          </a:xfrm>
          <a:prstGeom prst="rect">
            <a:avLst/>
          </a:prstGeom>
          <a:solidFill>
            <a:srgbClr val="007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8A0E2A6-9986-F74E-927D-BC7EDBC6F913}"/>
              </a:ext>
            </a:extLst>
          </p:cNvPr>
          <p:cNvSpPr/>
          <p:nvPr userDrawn="1"/>
        </p:nvSpPr>
        <p:spPr>
          <a:xfrm>
            <a:off x="4185092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19CD2A4-9EA7-0A47-A18B-0C7FF8E60F1C}"/>
              </a:ext>
            </a:extLst>
          </p:cNvPr>
          <p:cNvSpPr/>
          <p:nvPr userDrawn="1"/>
        </p:nvSpPr>
        <p:spPr>
          <a:xfrm>
            <a:off x="6908366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4CDA239-D55D-CE49-A4A2-CB54F4683896}"/>
              </a:ext>
            </a:extLst>
          </p:cNvPr>
          <p:cNvSpPr/>
          <p:nvPr userDrawn="1"/>
        </p:nvSpPr>
        <p:spPr>
          <a:xfrm>
            <a:off x="9631639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486D25C-B396-E948-9E8A-C105ADA4A71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 flipH="1">
            <a:off x="1624162" y="2594344"/>
            <a:ext cx="1520456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414C43F0-B08A-8644-BEEE-9B80A5B79B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96582" y="2594345"/>
            <a:ext cx="1680424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D3455E-5F14-A24A-A459-95F81F6EF2C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24162" y="359328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C365794-0B51-AC44-BF7A-29191E3347B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46577" y="2608522"/>
            <a:ext cx="1538657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A8E5F349-7158-3D47-93B2-79611570B16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52357" y="2601433"/>
            <a:ext cx="1758396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4B95D5-7FC0-D647-B638-168A7ED2A1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4A19D7C2-626A-3E46-81CA-3E18C22753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9838A5E-9E86-5848-8CE5-F0758E827E8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396582" y="359328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E2A27B9-0BA0-554C-840B-C59FF54387E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46577" y="359328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A1FDCF7-A79E-2346-B06B-FCD23CFE44A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47169" y="359328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</p:spTree>
    <p:extLst>
      <p:ext uri="{BB962C8B-B14F-4D97-AF65-F5344CB8AC3E}">
        <p14:creationId xmlns:p14="http://schemas.microsoft.com/office/powerpoint/2010/main" val="21668014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Mapp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4EDFB4D-447D-D243-980F-88E1ABB0D997}"/>
              </a:ext>
            </a:extLst>
          </p:cNvPr>
          <p:cNvSpPr/>
          <p:nvPr userDrawn="1"/>
        </p:nvSpPr>
        <p:spPr>
          <a:xfrm>
            <a:off x="85061" y="2368097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8A0E2A6-9986-F74E-927D-BC7EDBC6F913}"/>
              </a:ext>
            </a:extLst>
          </p:cNvPr>
          <p:cNvSpPr/>
          <p:nvPr userDrawn="1"/>
        </p:nvSpPr>
        <p:spPr>
          <a:xfrm>
            <a:off x="2827452" y="2368097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19CD2A4-9EA7-0A47-A18B-0C7FF8E60F1C}"/>
              </a:ext>
            </a:extLst>
          </p:cNvPr>
          <p:cNvSpPr/>
          <p:nvPr userDrawn="1"/>
        </p:nvSpPr>
        <p:spPr>
          <a:xfrm>
            <a:off x="5572392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4CDA239-D55D-CE49-A4A2-CB54F4683896}"/>
              </a:ext>
            </a:extLst>
          </p:cNvPr>
          <p:cNvSpPr/>
          <p:nvPr userDrawn="1"/>
        </p:nvSpPr>
        <p:spPr>
          <a:xfrm>
            <a:off x="8314783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8FE0F6D-137D-AA42-8FC8-4FF55A5E7AA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33437" y="2604977"/>
            <a:ext cx="1276386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390A3B2-9555-2740-912D-52ED0EBE081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053334" y="2608520"/>
            <a:ext cx="1379169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637A4BEB-6926-EF4A-86DE-4D1BD7E24F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801352" y="2590800"/>
            <a:ext cx="1428787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2911AE25-5205-9B48-AFEB-4DD39838F7B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546821" y="2594345"/>
            <a:ext cx="1478407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8658060-DE13-CD43-82B9-C621D3339B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1A96D0D-6A10-BA4F-88B3-A1373782EF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F88D97E-EBD8-3B40-94E1-5BA05EDE09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9436" y="3625703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82441CF0-7376-3240-9ABF-85CFBEBDD30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053334" y="362570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59B43D2-E9C2-E34E-8970-B478A051D7D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799598" y="3625701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581C4E8-FCDC-F049-BE88-3FC03B28DD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543263" y="3625700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</p:spTree>
    <p:extLst>
      <p:ext uri="{BB962C8B-B14F-4D97-AF65-F5344CB8AC3E}">
        <p14:creationId xmlns:p14="http://schemas.microsoft.com/office/powerpoint/2010/main" val="15546482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YAWWF_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E1344B8-AE46-8447-A782-7EC7F96B4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5564" y="5244389"/>
            <a:ext cx="4635500" cy="1068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1410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YAWWF_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E1344B8-AE46-8447-A782-7EC7F96B4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6064" y="5117389"/>
            <a:ext cx="4635500" cy="1068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980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YAWWF_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E1344B8-AE46-8447-A782-7EC7F96B4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9008" y="506942"/>
            <a:ext cx="4635500" cy="1068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860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84336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1/13/2025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55715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83ACD7-27EE-CC48-8599-FA698431291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692119" y="1192260"/>
            <a:ext cx="2199190" cy="3406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dirty="0">
                <a:solidFill>
                  <a:schemeClr val="bg1"/>
                </a:solidFill>
                <a:latin typeface="AmericanSans" panose="02000000000000000000" pitchFamily="2" charset="77"/>
              </a:rPr>
              <a:t>January 1, 20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9DBF10-D40B-2B45-A3F4-D01D83F878D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7587" y="3109596"/>
            <a:ext cx="8621259" cy="966788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Place your 1 line headline here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556B65-B902-E14E-AC89-586208119A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0983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1/13/2025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5755270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AE39F50-A8C2-944D-9A81-86FCB970C729}"/>
              </a:ext>
            </a:extLst>
          </p:cNvPr>
          <p:cNvSpPr/>
          <p:nvPr userDrawn="1"/>
        </p:nvSpPr>
        <p:spPr>
          <a:xfrm>
            <a:off x="0" y="0"/>
            <a:ext cx="12192000" cy="6866456"/>
          </a:xfrm>
          <a:prstGeom prst="rect">
            <a:avLst/>
          </a:prstGeom>
          <a:solidFill>
            <a:srgbClr val="0078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FFB3669-F614-1D46-9E95-63569CCB287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14463" y="2104103"/>
            <a:ext cx="9363075" cy="1540753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Slide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DFD606CB-5980-864E-BC3E-942C4C3D517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414463" y="3644857"/>
            <a:ext cx="9363075" cy="276224"/>
          </a:xfrm>
        </p:spPr>
        <p:txBody>
          <a:bodyPr>
            <a:norm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 of Chapt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E6EEB7-F5BE-9142-8E28-A2D9A8C3F2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590288"/>
            <a:ext cx="2573273" cy="2267712"/>
          </a:xfrm>
          <a:prstGeom prst="rect">
            <a:avLst/>
          </a:prstGeom>
        </p:spPr>
      </p:pic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FB74312-32B5-2F4A-BB47-FF03A284B08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99935" y="6281928"/>
            <a:ext cx="3392129" cy="276224"/>
          </a:xfrm>
        </p:spPr>
        <p:txBody>
          <a:bodyPr>
            <a:norm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ivileged &amp; Confidential</a:t>
            </a:r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B2E3C8A-FEF7-0647-86CB-796410E2EF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843531" y="214536"/>
            <a:ext cx="3191256" cy="48494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9F7809A-8F10-634D-9558-A10BEB6ACC9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8987" y="6023980"/>
            <a:ext cx="6858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9838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83ACD7-27EE-CC48-8599-FA698431291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692119" y="1192260"/>
            <a:ext cx="2199190" cy="3406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dirty="0">
                <a:solidFill>
                  <a:schemeClr val="bg1"/>
                </a:solidFill>
                <a:latin typeface="AmericanSans" panose="02000000000000000000" pitchFamily="2" charset="77"/>
              </a:rPr>
              <a:t>January 1, 202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BF77620-DD25-904E-A8B8-CF3DB84AD8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17172" y="1282414"/>
            <a:ext cx="3573826" cy="687003"/>
          </a:xfrm>
        </p:spPr>
        <p:txBody>
          <a:bodyPr/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3B84278-9197-2A43-B591-062BB4D79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43441" y="2330970"/>
            <a:ext cx="8955039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DD77659D-F558-AC41-9B8E-4FBED8B0C8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9086" y="3306329"/>
            <a:ext cx="8955039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FA33482-AF8F-C045-81DE-A287F27BA88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52151" y="4265022"/>
            <a:ext cx="8941974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E120FCF0-C3D8-EB46-B7D4-1EC38C310FB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47796" y="5266507"/>
            <a:ext cx="8941974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8EB9E7-2746-BA42-8733-B0F969B59181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76EBE57-D58F-6C43-B73C-E8D8F44A1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0359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83ACD7-27EE-CC48-8599-FA698431291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692119" y="1192260"/>
            <a:ext cx="2199190" cy="3406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dirty="0">
                <a:solidFill>
                  <a:schemeClr val="bg1"/>
                </a:solidFill>
                <a:latin typeface="AmericanSans" panose="02000000000000000000" pitchFamily="2" charset="77"/>
              </a:rPr>
              <a:t>January 1, 202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BF77620-DD25-904E-A8B8-CF3DB84AD8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17172" y="1282414"/>
            <a:ext cx="3573826" cy="687003"/>
          </a:xfrm>
        </p:spPr>
        <p:txBody>
          <a:bodyPr/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8EB9E7-2746-BA42-8733-B0F969B59181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681516DD-C626-F249-9CC5-E722FA4A3885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>
          <a:xfrm flipH="1">
            <a:off x="1786973" y="2533537"/>
            <a:ext cx="2122418" cy="1828800"/>
          </a:xfrm>
          <a:solidFill>
            <a:srgbClr val="D0DAE0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68E13D9-3750-3448-9429-C0C222364975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>
          <a:xfrm flipH="1">
            <a:off x="4201942" y="2533298"/>
            <a:ext cx="2121408" cy="1828800"/>
          </a:xfrm>
          <a:solidFill>
            <a:srgbClr val="D0DAE0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B086BE04-9DD8-E541-B9DB-6866097F71BD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 flipH="1">
            <a:off x="6616911" y="2533298"/>
            <a:ext cx="2121408" cy="1828800"/>
          </a:xfrm>
          <a:solidFill>
            <a:srgbClr val="D0DAE0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D3A07B5-3929-E841-A580-4C5440BC2640}"/>
              </a:ext>
            </a:extLst>
          </p:cNvPr>
          <p:cNvSpPr>
            <a:spLocks noGrp="1" noChangeAspect="1"/>
          </p:cNvSpPr>
          <p:nvPr>
            <p:ph type="body" sz="quarter" idx="33" hasCustomPrompt="1"/>
          </p:nvPr>
        </p:nvSpPr>
        <p:spPr>
          <a:xfrm flipH="1">
            <a:off x="9035524" y="2533297"/>
            <a:ext cx="2121408" cy="1828800"/>
          </a:xfrm>
          <a:solidFill>
            <a:srgbClr val="D0DAE0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A65C6345-B921-7742-A4E6-F4C2AB64C419}"/>
              </a:ext>
            </a:extLst>
          </p:cNvPr>
          <p:cNvSpPr>
            <a:spLocks noGrp="1" noChangeAspect="1"/>
          </p:cNvSpPr>
          <p:nvPr>
            <p:ph type="body" sz="quarter" idx="34" hasCustomPrompt="1"/>
          </p:nvPr>
        </p:nvSpPr>
        <p:spPr>
          <a:xfrm flipH="1">
            <a:off x="1786973" y="4570435"/>
            <a:ext cx="2121408" cy="1828800"/>
          </a:xfrm>
          <a:solidFill>
            <a:srgbClr val="D0DAE0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F72122D9-FAF6-A246-B0F2-AA9015838054}"/>
              </a:ext>
            </a:extLst>
          </p:cNvPr>
          <p:cNvSpPr>
            <a:spLocks noGrp="1" noChangeAspect="1"/>
          </p:cNvSpPr>
          <p:nvPr>
            <p:ph type="body" sz="quarter" idx="35" hasCustomPrompt="1"/>
          </p:nvPr>
        </p:nvSpPr>
        <p:spPr>
          <a:xfrm flipH="1">
            <a:off x="4221817" y="4570435"/>
            <a:ext cx="2121408" cy="1828800"/>
          </a:xfrm>
          <a:solidFill>
            <a:srgbClr val="D0DAE0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DF681123-F126-204E-91C9-F3BD27546B49}"/>
              </a:ext>
            </a:extLst>
          </p:cNvPr>
          <p:cNvSpPr>
            <a:spLocks noGrp="1" noChangeAspect="1"/>
          </p:cNvSpPr>
          <p:nvPr>
            <p:ph type="body" sz="quarter" idx="36" hasCustomPrompt="1"/>
          </p:nvPr>
        </p:nvSpPr>
        <p:spPr>
          <a:xfrm flipH="1">
            <a:off x="6616911" y="4570435"/>
            <a:ext cx="2121408" cy="1828800"/>
          </a:xfrm>
          <a:solidFill>
            <a:srgbClr val="D0DAE0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F6735F22-7C4A-1644-B7AD-5FD402690406}"/>
              </a:ext>
            </a:extLst>
          </p:cNvPr>
          <p:cNvSpPr>
            <a:spLocks noGrp="1" noChangeAspect="1"/>
          </p:cNvSpPr>
          <p:nvPr>
            <p:ph type="body" sz="quarter" idx="37" hasCustomPrompt="1"/>
          </p:nvPr>
        </p:nvSpPr>
        <p:spPr>
          <a:xfrm flipH="1">
            <a:off x="9035524" y="4570435"/>
            <a:ext cx="2121408" cy="1828800"/>
          </a:xfrm>
          <a:solidFill>
            <a:srgbClr val="D0DAE0"/>
          </a:solidFill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Item 1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537354-16F5-3248-AE41-F4AC25CD97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8804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87113ECF-D558-6343-9EA9-D26C0BEB8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26047793-0769-0F4F-8A1A-EA53AA366F38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0B6606B5-AB41-244D-A481-083D61F996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17172" y="1282414"/>
            <a:ext cx="3945440" cy="687003"/>
          </a:xfrm>
        </p:spPr>
        <p:txBody>
          <a:bodyPr/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7F49F257-122B-1342-A5C8-E06994015C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43441" y="2330970"/>
            <a:ext cx="1352455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CEEB0733-7C4D-AB47-8943-1E66EE3BC7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91042" y="2307806"/>
            <a:ext cx="2471570" cy="687002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9982B6BA-A4F8-604E-8083-EC3893065A6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8367" y="3266323"/>
            <a:ext cx="2471569" cy="687001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EC7FB3EE-55C2-EC45-8B5A-C3E221991D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88370" y="4251824"/>
            <a:ext cx="2471566" cy="6870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1A11A3A2-F7FC-024D-B08B-85CD527C34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85695" y="5210341"/>
            <a:ext cx="2471565" cy="686999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A2D3FFA5-6100-284A-B619-D879ABF148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30431" y="3260977"/>
            <a:ext cx="2468880" cy="6858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E653DCB8-B576-C34D-97FF-79FA7442C8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30433" y="4246477"/>
            <a:ext cx="2468880" cy="6858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63F64038-D074-5446-BD2B-052288BA39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27759" y="5204995"/>
            <a:ext cx="2468880" cy="6858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DA1D93C2-309B-624E-9360-9140E8D3585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527758" y="2307806"/>
            <a:ext cx="2468880" cy="68580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Place details regarding the agenda here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C57D0B18-26B7-2048-8153-4931BC262F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9087" y="3306329"/>
            <a:ext cx="1356810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FFD5E081-880A-584A-871C-1B7B0EB105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52150" y="4265022"/>
            <a:ext cx="1352455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808C7EEA-0A75-084B-9D51-BF243C7BA9C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47796" y="5266507"/>
            <a:ext cx="1356810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A28A7FCF-BB31-0D48-B92E-1C311125427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14654" y="2339679"/>
            <a:ext cx="1352455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F7B5DEFB-876C-3B4E-BCC9-3ADBF8069AB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10300" y="3315038"/>
            <a:ext cx="1356810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810CEB7B-B0A0-E242-B2B0-5EA105AEFB9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23363" y="4273731"/>
            <a:ext cx="1352455" cy="47754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93B58029-A3D2-924F-982D-DB20AC7F6A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19009" y="5275216"/>
            <a:ext cx="1356810" cy="494961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36495A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tem 1</a:t>
            </a:r>
          </a:p>
        </p:txBody>
      </p:sp>
    </p:spTree>
    <p:extLst>
      <p:ext uri="{BB962C8B-B14F-4D97-AF65-F5344CB8AC3E}">
        <p14:creationId xmlns:p14="http://schemas.microsoft.com/office/powerpoint/2010/main" val="618282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6">
          <p15:clr>
            <a:srgbClr val="FBAE40"/>
          </p15:clr>
        </p15:guide>
        <p15:guide id="2" orient="horz" pos="2736">
          <p15:clr>
            <a:srgbClr val="FBAE40"/>
          </p15:clr>
        </p15:guide>
        <p15:guide id="3" orient="horz" pos="3360">
          <p15:clr>
            <a:srgbClr val="FBAE40"/>
          </p15:clr>
        </p15:guide>
        <p15:guide id="4" pos="3912">
          <p15:clr>
            <a:srgbClr val="FBAE40"/>
          </p15:clr>
        </p15:guide>
        <p15:guide id="5" pos="117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83ACD7-27EE-CC48-8599-FA698431291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692119" y="1192260"/>
            <a:ext cx="2199190" cy="3406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dirty="0">
                <a:solidFill>
                  <a:schemeClr val="bg1"/>
                </a:solidFill>
                <a:latin typeface="AmericanSans" panose="02000000000000000000" pitchFamily="2" charset="77"/>
              </a:rPr>
              <a:t>January 1, 20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9DBF10-D40B-2B45-A3F4-D01D83F878D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7587" y="3109596"/>
            <a:ext cx="8621259" cy="966788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Place your 1 line headline here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556B65-B902-E14E-AC89-586208119A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57093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AFD0269-1BB4-1744-AFCC-976472E0AB2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7587" y="3109596"/>
            <a:ext cx="7863613" cy="966788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Place your 2 line headline in this text box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CCDCA-86A5-DC49-8A51-A03C539F5B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06555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D50CE35-6C61-B64F-85CB-F718F83FD368}"/>
              </a:ext>
            </a:extLst>
          </p:cNvPr>
          <p:cNvSpPr/>
          <p:nvPr userDrawn="1"/>
        </p:nvSpPr>
        <p:spPr>
          <a:xfrm>
            <a:off x="5467135" y="3868177"/>
            <a:ext cx="845066" cy="135483"/>
          </a:xfrm>
          <a:prstGeom prst="rect">
            <a:avLst/>
          </a:prstGeom>
          <a:solidFill>
            <a:srgbClr val="C300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9B19634-BA82-FD4A-A72D-3C999A778BB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7587" y="2948232"/>
            <a:ext cx="8500107" cy="739848"/>
          </a:xfrm>
        </p:spPr>
        <p:txBody>
          <a:bodyPr>
            <a:normAutofit/>
          </a:bodyPr>
          <a:lstStyle>
            <a:lvl1pPr marL="0" indent="0" algn="ctr">
              <a:buNone/>
              <a:defRPr sz="4400" b="1">
                <a:solidFill>
                  <a:srgbClr val="36495A"/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Place your 1 line headlin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F7EAD-95E3-DD4E-8712-16ADC37E47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52259" y="4318906"/>
            <a:ext cx="3852863" cy="62865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rgbClr val="36495A"/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your subtitl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FFC095-B473-4B43-A248-C5B95CC14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9144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83ACD7-27EE-CC48-8599-FA698431291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692119" y="1192260"/>
            <a:ext cx="2199190" cy="3406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dirty="0">
                <a:solidFill>
                  <a:schemeClr val="bg1"/>
                </a:solidFill>
                <a:latin typeface="AmericanSans" panose="02000000000000000000" pitchFamily="2" charset="77"/>
              </a:rPr>
              <a:t>January 1, 202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BF77620-DD25-904E-A8B8-CF3DB84AD8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7800" y="267209"/>
            <a:ext cx="11093090" cy="687003"/>
          </a:xfrm>
        </p:spPr>
        <p:txBody>
          <a:bodyPr/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8EB9E7-2746-BA42-8733-B0F969B59181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537354-16F5-3248-AE41-F4AC25CD97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240ED3CC-6C65-DD4C-961E-07451F8A3D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8260" y="1027832"/>
            <a:ext cx="11092630" cy="5215652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rgbClr val="36495A"/>
                </a:solidFill>
              </a:defRPr>
            </a:lvl1pPr>
            <a:lvl2pPr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532825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8F9F7A6-7AA4-5A41-B7B7-BFC8BEA57D63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DED7CE-B331-EE4A-A43D-EA9B18B450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501" y="383168"/>
            <a:ext cx="11302538" cy="1069047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List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0C73654-0070-4E4C-87EF-F5D515FE3D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01" y="1532153"/>
            <a:ext cx="5547499" cy="3793694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rgbClr val="36495A"/>
                </a:solidFill>
              </a:defRPr>
            </a:lvl1pPr>
            <a:lvl2pPr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lvl="0"/>
            <a:endParaRPr lang="en-US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FB29E677-4029-4646-9D22-5BDE01105D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9373" y="1535873"/>
            <a:ext cx="5681666" cy="3793694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rgbClr val="36495A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CD61CB1-E8EE-D34B-B824-1A9FC94EAA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4096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AFD0269-1BB4-1744-AFCC-976472E0AB2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7587" y="3109596"/>
            <a:ext cx="7863613" cy="966788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Place your 2 line headline in this text box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CCDCA-86A5-DC49-8A51-A03C539F5B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39975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 w/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ED177B9-7F74-AE42-96B5-BE7F7EB331B7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latin typeface="AmericanSans" panose="02000000000000000000" pitchFamily="2" charset="77"/>
              </a:rPr>
              <a:t>‹#›</a:t>
            </a:fld>
            <a:endParaRPr lang="en-US" sz="900" b="0" i="1" dirty="0">
              <a:latin typeface="AmericanSans" panose="02000000000000000000" pitchFamily="2" charset="77"/>
            </a:endParaRP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07DAC6FE-5804-7D49-BC1D-386FF610C4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592" y="1537798"/>
            <a:ext cx="5550408" cy="379476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rgbClr val="36495A"/>
                </a:solidFill>
              </a:defRPr>
            </a:lvl1pPr>
            <a:lvl2pPr>
              <a:defRPr sz="1400">
                <a:solidFill>
                  <a:srgbClr val="36495A"/>
                </a:solidFill>
              </a:defRPr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Place a small paragraph or bulleted list here</a:t>
            </a:r>
          </a:p>
          <a:p>
            <a:pPr lvl="1"/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lvl="0"/>
            <a:endParaRPr lang="en-US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4B8872A-CDBE-1345-8678-CB5FFF3F99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00631" y="1531620"/>
            <a:ext cx="5550408" cy="379476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rgbClr val="36495A"/>
                </a:solidFill>
              </a:defRPr>
            </a:lvl1pPr>
            <a:lvl2pPr>
              <a:defRPr sz="1400">
                <a:solidFill>
                  <a:srgbClr val="36495A"/>
                </a:solidFill>
              </a:defRPr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Place a small paragraph or bulleted list here</a:t>
            </a:r>
          </a:p>
          <a:p>
            <a:pPr lvl="1"/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ub bullet here</a:t>
            </a:r>
          </a:p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EF6444-6593-D849-9CC6-0F467DA64F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5050340-2CE7-A542-B014-72A1DAF251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501" y="383168"/>
            <a:ext cx="11302538" cy="1069047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List w/ Sub Bullet Title Here</a:t>
            </a:r>
          </a:p>
        </p:txBody>
      </p:sp>
    </p:spTree>
    <p:extLst>
      <p:ext uri="{BB962C8B-B14F-4D97-AF65-F5344CB8AC3E}">
        <p14:creationId xmlns:p14="http://schemas.microsoft.com/office/powerpoint/2010/main" val="22491050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0266A63-AF82-A54D-AD59-287EBF19D5C5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E7E2350-675A-2347-BA3D-85B9C17902B0}"/>
              </a:ext>
            </a:extLst>
          </p:cNvPr>
          <p:cNvSpPr/>
          <p:nvPr userDrawn="1"/>
        </p:nvSpPr>
        <p:spPr>
          <a:xfrm>
            <a:off x="5673467" y="4385486"/>
            <a:ext cx="845066" cy="135483"/>
          </a:xfrm>
          <a:prstGeom prst="rect">
            <a:avLst/>
          </a:prstGeom>
          <a:solidFill>
            <a:srgbClr val="C300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2E483C-6704-BA46-9A94-5D6498858B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6803" y="2594714"/>
            <a:ext cx="9399551" cy="1637045"/>
          </a:xfrm>
        </p:spPr>
        <p:txBody>
          <a:bodyPr>
            <a:normAutofit/>
          </a:bodyPr>
          <a:lstStyle>
            <a:lvl1pPr marL="0" indent="0" algn="ctr">
              <a:buNone/>
              <a:defRPr sz="3600">
                <a:solidFill>
                  <a:srgbClr val="36495A"/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Add a quote or statement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6E856D3-0100-CC40-B89C-001706D326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9169" y="4996786"/>
            <a:ext cx="2042116" cy="489615"/>
          </a:xfrm>
        </p:spPr>
        <p:txBody>
          <a:bodyPr>
            <a:normAutofit/>
          </a:bodyPr>
          <a:lstStyle>
            <a:lvl1pPr marL="0" indent="0" algn="ctr">
              <a:buNone/>
              <a:defRPr sz="1600" i="1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Person, Loc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EADCFF8-DF09-474E-834E-02246A7537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3024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8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1"/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1"/>
              </a:solidFill>
              <a:latin typeface="AmericanSans" panose="02000000000000000000" pitchFamily="2" charset="77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E36764-0534-2A47-82F4-4BDF7F536F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3"/>
            <a:ext cx="1717172" cy="151326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9F2229-3BB3-5B40-B594-7333C1D602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bg1"/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Titl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26A74E-928A-FD4C-AE46-D87AA08387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Subtitle of Chapter</a:t>
            </a:r>
          </a:p>
        </p:txBody>
      </p:sp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93FA8C5-039A-7644-9B2E-705948643FD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74522" y="352059"/>
            <a:ext cx="2523744" cy="38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6595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64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E36764-0534-2A47-82F4-4BDF7F536F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3"/>
            <a:ext cx="1717172" cy="1513268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0BE2F8C-B1A3-CF4E-9066-C53543290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bg1"/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Title Slid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F9DE030-94BF-D441-8721-FE7CE58D89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Subtitle of Chapt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1"/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1"/>
              </a:solidFill>
              <a:latin typeface="AmericanSans" panose="02000000000000000000" pitchFamily="2" charset="77"/>
            </a:endParaRP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21E97B5-842C-734F-8924-EFC42A141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74522" y="352059"/>
            <a:ext cx="2523744" cy="38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43613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E36764-0534-2A47-82F4-4BDF7F536F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3"/>
            <a:ext cx="1717172" cy="1513268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A56D760-6A6D-2D4A-B736-180C25F107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bg1"/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Title Slid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9FB0631-5DFF-C64B-B50F-F194E6DCAB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Subtitle of Chapt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1"/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1"/>
              </a:solidFill>
              <a:latin typeface="AmericanSans" panose="02000000000000000000" pitchFamily="2" charset="77"/>
            </a:endParaRP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6F32039-DE43-FF41-AE69-E1C6C4F9A87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74522" y="352059"/>
            <a:ext cx="2523744" cy="38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2623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0D2F2-DE3D-0A46-B000-D1529BA884B9}"/>
              </a:ext>
            </a:extLst>
          </p:cNvPr>
          <p:cNvSpPr/>
          <p:nvPr userDrawn="1"/>
        </p:nvSpPr>
        <p:spPr>
          <a:xfrm>
            <a:off x="0" y="0"/>
            <a:ext cx="12206288" cy="6858000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E36764-0534-2A47-82F4-4BDF7F536F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44732"/>
            <a:ext cx="1717172" cy="1513268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7197A2B-82EF-D446-97EB-31E7ABDCF2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0800" y="2530992"/>
            <a:ext cx="10121900" cy="1018318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rgbClr val="36495A"/>
                </a:solidFill>
              </a:defRPr>
            </a:lvl1pPr>
            <a:lvl2pPr marL="457200" indent="0">
              <a:buNone/>
              <a:defRPr sz="4400">
                <a:solidFill>
                  <a:schemeClr val="bg1"/>
                </a:solidFill>
              </a:defRPr>
            </a:lvl2pPr>
            <a:lvl3pPr marL="914400" indent="0">
              <a:buNone/>
              <a:defRPr sz="4400">
                <a:solidFill>
                  <a:schemeClr val="bg1"/>
                </a:solidFill>
              </a:defRPr>
            </a:lvl3pPr>
            <a:lvl4pPr marL="1371600" indent="0">
              <a:buNone/>
              <a:defRPr sz="4400">
                <a:solidFill>
                  <a:schemeClr val="bg1"/>
                </a:solidFill>
              </a:defRPr>
            </a:lvl4pPr>
            <a:lvl5pPr marL="1828800" indent="0"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Title Slid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6D60169-88F9-5F41-9277-6A1728CE1C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8571" y="3549310"/>
            <a:ext cx="8172450" cy="636232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rgbClr val="36495A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AmericanSans" panose="02000000000000000000" pitchFamily="2" charset="77"/>
              </a:rPr>
              <a:t> </a:t>
            </a:r>
            <a:r>
              <a:rPr lang="en-US" sz="160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Subtitle of Chapter </a:t>
            </a:r>
            <a:endParaRPr lang="en-US" sz="1600">
              <a:solidFill>
                <a:schemeClr val="bg1"/>
              </a:solidFill>
              <a:latin typeface="AmericanSans" panose="02000000000000000000" pitchFamily="2" charset="7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DCCBA55-F9F7-644E-989E-DD72C4C4660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74522" y="352060"/>
            <a:ext cx="2523744" cy="38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36599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AWWF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121CD04-857D-E34C-A6E8-89D6034152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089900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B06A1E2-D1D7-0E41-A56B-C644581637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5524" y="3054413"/>
            <a:ext cx="3251009" cy="7491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33BD216-B2DB-EB49-8605-77A3F9427248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45E434-6BDA-F24A-9FEE-F8BEFBF117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1861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saic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30837D-51E8-D941-9B28-2A1B419AF4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00125" y="828675"/>
            <a:ext cx="5351463" cy="288925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52B38A5-E887-014F-B3C4-52A019C55F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86525" y="817563"/>
            <a:ext cx="4730750" cy="51689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C2D697F-C740-9144-BDED-A90B9E55999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87425" y="3829050"/>
            <a:ext cx="5353050" cy="2170113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B8462B-C61B-934B-97FD-DCB9E336B0BA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3BF87C-E082-0745-9FF4-7565CE6D13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6818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mage w/ Body Cop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55AD354-806A-4544-A952-1DADB10B67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14950" y="0"/>
            <a:ext cx="4097338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10A681-27D7-A546-9928-07C6AE026D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969" y="3096133"/>
            <a:ext cx="4402138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3583A44-0D84-1E4A-BCA7-FC3D0FD098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163" y="3901439"/>
            <a:ext cx="4144962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5AF709E-BCA9-C940-A539-5F888E70F8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607137" y="3460073"/>
            <a:ext cx="2298824" cy="2964478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6FD2699-2BAC-7A4A-A614-51B4A1CB1B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27954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Image w/ Body Cop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44734A-C7F8-5544-B6AA-25FAEA370BF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8107363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0F5290-F8A5-E349-9CD3-E43011A034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09573" y="2608326"/>
            <a:ext cx="3158171" cy="1390650"/>
          </a:xfr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Picture Title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3A8D03-2BAC-5541-A923-E6E9EB430B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34654" y="4047681"/>
            <a:ext cx="3522663" cy="158432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rgbClr val="36495A"/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8299A7-F266-464C-A9C2-A273D5581D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154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D50CE35-6C61-B64F-85CB-F718F83FD368}"/>
              </a:ext>
            </a:extLst>
          </p:cNvPr>
          <p:cNvSpPr/>
          <p:nvPr userDrawn="1"/>
        </p:nvSpPr>
        <p:spPr>
          <a:xfrm>
            <a:off x="5467135" y="3868177"/>
            <a:ext cx="845066" cy="135483"/>
          </a:xfrm>
          <a:prstGeom prst="rect">
            <a:avLst/>
          </a:prstGeom>
          <a:solidFill>
            <a:srgbClr val="CC2C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9B19634-BA82-FD4A-A72D-3C999A778BB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37587" y="2948232"/>
            <a:ext cx="8500107" cy="966788"/>
          </a:xfrm>
        </p:spPr>
        <p:txBody>
          <a:bodyPr>
            <a:normAutofit/>
          </a:bodyPr>
          <a:lstStyle>
            <a:lvl1pPr marL="0" indent="0" algn="ctr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Place your 1 line headlin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F7EAD-95E3-DD4E-8712-16ADC37E47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52259" y="4318906"/>
            <a:ext cx="3852863" cy="62865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your subtitl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FFC095-B473-4B43-A248-C5B95CC14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24795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/3 Image w/ Body Cop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44734A-C7F8-5544-B6AA-25FAEA370BF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2709" y="0"/>
            <a:ext cx="8107363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A8E2A2F-BF30-4647-8E4E-767DDCA3B1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7969" y="3096134"/>
            <a:ext cx="3307642" cy="805306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CFAE2B4-3795-4142-8DC4-4D3AF0C34B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163" y="3901439"/>
            <a:ext cx="3205071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AA990C0-6C96-4D4B-8D09-C6A0CA9F99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73574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Image w/ Body Copy Left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0F66054-0B17-A140-A55C-7E5A7E3E477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24613" y="3108198"/>
            <a:ext cx="4218875" cy="902907"/>
          </a:xfr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Picture Title</a:t>
            </a:r>
            <a:endParaRPr lang="en-US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25A0539-B78E-C749-B676-89656F4125E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49694" y="4011105"/>
            <a:ext cx="3522663" cy="158432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29CDA2-8874-6C4E-B312-259561EC792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0"/>
            <a:ext cx="6108700" cy="68580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05BBC8-8583-C04F-A4FF-8C06AE9D08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47345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Top w/ Body Copy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3DE534F-87A0-624A-866F-649E420E4D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35749" y="4620006"/>
            <a:ext cx="4718747" cy="720090"/>
          </a:xfr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Picture Title</a:t>
            </a:r>
            <a:endParaRPr lang="en-US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3D5CAC0-334C-2F4E-80F2-C55ACF1953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60830" y="5327841"/>
            <a:ext cx="4697466" cy="977956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rgbClr val="36495A"/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3DEF3A-B4D0-5D40-9695-87FF02B91FE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0"/>
            <a:ext cx="12192000" cy="412115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ADA9B79-2FA6-A34D-9045-78490B77C47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92108" y="4660842"/>
            <a:ext cx="4960702" cy="158557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rgbClr val="36495A"/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54A7B3A-46D3-7B4B-8549-EB4B66F15C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81240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in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3DEF3A-B4D0-5D40-9695-87FF02B91FE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1158117"/>
            <a:ext cx="12192000" cy="412115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528475-5325-2D4F-A674-B8D2E74665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26194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2C424C78-0344-4A47-9D46-52F02001F16C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EE4F6E5-172A-3245-84BD-FFCCE740CD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95388" y="292100"/>
            <a:ext cx="10045700" cy="6230938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here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56BABA-5D2B-AC47-A96B-B6FD438261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42450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53059155-DD42-154D-B9E7-E8925485768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106904" y="963460"/>
            <a:ext cx="3110427" cy="5100456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2713CE83-68EB-DF40-AD31-DE2243FB932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8879" y="963460"/>
            <a:ext cx="3108960" cy="51023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3AB530D-1229-A34B-838F-AD318CFC30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9387" y="965071"/>
            <a:ext cx="3108960" cy="51023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3D9C99-8EB7-DD40-9022-221B1B7DEE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21951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0EFFF4E8-B865-3644-88C4-013CEA6CDFB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950107" y="1789910"/>
            <a:ext cx="2584175" cy="34159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486C5F1D-6DA2-9541-8AFD-BB4A68C9BF5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95389" y="1789910"/>
            <a:ext cx="2584175" cy="34159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37466E48-6004-664E-8E7D-665770A7502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40672" y="1789910"/>
            <a:ext cx="2584175" cy="34159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E1DE458-C898-2E47-8F35-C043D66955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5954" y="1789910"/>
            <a:ext cx="2584175" cy="3415952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9219FCE-EC1E-E049-8D82-ED2A38410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00086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 Screen Image w/ Body Cop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F7F630-17F4-6543-8ECD-44C4D95378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3944" y="1022732"/>
            <a:ext cx="7638056" cy="5147109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F6F9702-5923-BD4E-8DDB-45964A07B2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969" y="2462150"/>
            <a:ext cx="4402138" cy="805306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A21152A-0C25-3643-B766-DB829FB5C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163" y="3267455"/>
            <a:ext cx="4389437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F7C2D6A-EB6A-934D-8849-AC5310D8552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081713" y="1722438"/>
            <a:ext cx="4603750" cy="2616200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34FFE22-9EE2-5346-93B0-DFF64541A7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0168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Screen Image w/ Body Copy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C7113D3-5477-9949-AB38-24561C627D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6549" y="1006090"/>
            <a:ext cx="2675164" cy="4845819"/>
          </a:xfrm>
          <a:prstGeom prst="rect">
            <a:avLst/>
          </a:prstGeom>
          <a:effectLst>
            <a:reflection stA="23000" endPos="10000" dir="5400000" sy="-100000" algn="bl" rotWithShape="0"/>
          </a:effectLst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FD4329C-A3A7-934A-B6BC-79F3C228E6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969" y="2462150"/>
            <a:ext cx="4402138" cy="805306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2F74A6B-2C59-C141-A1E8-39B60CA7C7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163" y="3267455"/>
            <a:ext cx="4389437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6360DB4-B710-F840-97BD-56F986CD02D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7421563" y="1616074"/>
            <a:ext cx="2041525" cy="3636409"/>
          </a:xfrm>
          <a:pattFill prst="divot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BAADBE-A9DA-DC40-9187-0EE293BB7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33633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Screen Image w/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FD4329C-A3A7-934A-B6BC-79F3C228E6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969" y="2462150"/>
            <a:ext cx="4402138" cy="805306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Pictur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2F74A6B-2C59-C141-A1E8-39B60CA7C7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163" y="3267455"/>
            <a:ext cx="4389437" cy="113347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Place a small paragraph regarding the picture here.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BAADBE-A9DA-DC40-9187-0EE293BB7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F4BB097-01F7-9848-A2FD-D747F9E72D5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9227" y="263258"/>
            <a:ext cx="4261373" cy="6285740"/>
          </a:xfrm>
          <a:prstGeom prst="rect">
            <a:avLst/>
          </a:prstGeom>
          <a:effectLst>
            <a:reflection blurRad="6350" stA="23000" endPos="10000" dir="5400000" sy="-100000" algn="bl" rotWithShape="0"/>
          </a:effectLst>
        </p:spPr>
      </p:pic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2EB935E5-A45B-9047-BABB-260069AB35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772060" y="935026"/>
            <a:ext cx="3705240" cy="4912415"/>
          </a:xfrm>
          <a:custGeom>
            <a:avLst/>
            <a:gdLst>
              <a:gd name="connsiteX0" fmla="*/ 0 w 2820838"/>
              <a:gd name="connsiteY0" fmla="*/ 0 h 3735238"/>
              <a:gd name="connsiteX1" fmla="*/ 2820838 w 2820838"/>
              <a:gd name="connsiteY1" fmla="*/ 0 h 3735238"/>
              <a:gd name="connsiteX2" fmla="*/ 2820838 w 2820838"/>
              <a:gd name="connsiteY2" fmla="*/ 3735238 h 3735238"/>
              <a:gd name="connsiteX3" fmla="*/ 0 w 2820838"/>
              <a:gd name="connsiteY3" fmla="*/ 3735238 h 373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20838" h="3735238">
                <a:moveTo>
                  <a:pt x="0" y="0"/>
                </a:moveTo>
                <a:lnTo>
                  <a:pt x="2820838" y="0"/>
                </a:lnTo>
                <a:lnTo>
                  <a:pt x="2820838" y="3735238"/>
                </a:lnTo>
                <a:lnTo>
                  <a:pt x="0" y="3735238"/>
                </a:ln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>
                <a:alpha val="81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5067572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83ACD7-27EE-CC48-8599-FA698431291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692119" y="1192260"/>
            <a:ext cx="2199190" cy="3406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dirty="0">
                <a:solidFill>
                  <a:schemeClr val="bg1"/>
                </a:solidFill>
                <a:latin typeface="AmericanSans" panose="02000000000000000000" pitchFamily="2" charset="77"/>
              </a:rPr>
              <a:t>January 1, 202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BF77620-DD25-904E-A8B8-CF3DB84AD8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7800" y="267209"/>
            <a:ext cx="11093090" cy="687003"/>
          </a:xfrm>
        </p:spPr>
        <p:txBody>
          <a:bodyPr/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8EB9E7-2746-BA42-8733-B0F969B59181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240ED3CC-6C65-DD4C-961E-07451F8A3D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8260" y="1027832"/>
            <a:ext cx="11092630" cy="5215652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98A492-2F2D-90D5-381F-A85CE653D0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73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and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EAD816-52FA-444F-ACC3-C06C773E8E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C1D9757-D430-324B-B9A3-CB630C2884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5535" y="-743619"/>
            <a:ext cx="8345237" cy="8345237"/>
          </a:xfrm>
          <a:prstGeom prst="rect">
            <a:avLst/>
          </a:prstGeom>
        </p:spPr>
      </p:pic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D9E87076-ED09-C74F-B234-90F536C1BA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28026" y="762584"/>
            <a:ext cx="7509753" cy="4226492"/>
          </a:xfrm>
          <a:custGeom>
            <a:avLst/>
            <a:gdLst>
              <a:gd name="connsiteX0" fmla="*/ 0 w 4839419"/>
              <a:gd name="connsiteY0" fmla="*/ 0 h 2777706"/>
              <a:gd name="connsiteX1" fmla="*/ 4839419 w 4839419"/>
              <a:gd name="connsiteY1" fmla="*/ 0 h 2777706"/>
              <a:gd name="connsiteX2" fmla="*/ 4839419 w 4839419"/>
              <a:gd name="connsiteY2" fmla="*/ 2777706 h 2777706"/>
              <a:gd name="connsiteX3" fmla="*/ 0 w 4839419"/>
              <a:gd name="connsiteY3" fmla="*/ 2777706 h 2777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39419" h="2777706">
                <a:moveTo>
                  <a:pt x="0" y="0"/>
                </a:moveTo>
                <a:lnTo>
                  <a:pt x="4839419" y="0"/>
                </a:lnTo>
                <a:lnTo>
                  <a:pt x="4839419" y="2777706"/>
                </a:lnTo>
                <a:lnTo>
                  <a:pt x="0" y="2777706"/>
                </a:ln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25400">
              <a:prstClr val="black">
                <a:alpha val="58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F41D199-27D1-ED41-B44B-16823471D60C}"/>
              </a:ext>
            </a:extLst>
          </p:cNvPr>
          <p:cNvGrpSpPr/>
          <p:nvPr userDrawn="1"/>
        </p:nvGrpSpPr>
        <p:grpSpPr>
          <a:xfrm>
            <a:off x="205701" y="436764"/>
            <a:ext cx="3343315" cy="6026498"/>
            <a:chOff x="7871044" y="199745"/>
            <a:chExt cx="3670329" cy="661595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016A417-8E35-674B-9522-03F52D4261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6DF42CE-8610-2C40-835F-C026A6482132}"/>
                </a:ext>
              </a:extLst>
            </p:cNvPr>
            <p:cNvPicPr>
              <a:picLocks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FB06323-1077-1343-8951-4F9C8E6FF64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39205" y="575627"/>
            <a:ext cx="2755874" cy="5390145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345659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</p:bld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EAD816-52FA-444F-ACC3-C06C773E8E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B8895BBD-FB6C-FC49-8CB2-9C2E2057777B}"/>
              </a:ext>
            </a:extLst>
          </p:cNvPr>
          <p:cNvGrpSpPr/>
          <p:nvPr userDrawn="1"/>
        </p:nvGrpSpPr>
        <p:grpSpPr>
          <a:xfrm>
            <a:off x="0" y="663625"/>
            <a:ext cx="3180877" cy="5733695"/>
            <a:chOff x="7871044" y="199745"/>
            <a:chExt cx="3670329" cy="6615958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0E22972-1B56-1F43-8707-BB055B85F1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9C70B68D-C821-4941-95B9-7ED1D3555D4D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9F519B3-C9BD-6C4E-B9A4-BD54F4B4F59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32743" y="794980"/>
            <a:ext cx="2560630" cy="5057980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210E530-B44C-3E41-928F-DF042440DEF7}"/>
              </a:ext>
            </a:extLst>
          </p:cNvPr>
          <p:cNvGrpSpPr/>
          <p:nvPr userDrawn="1"/>
        </p:nvGrpSpPr>
        <p:grpSpPr>
          <a:xfrm>
            <a:off x="2976880" y="663625"/>
            <a:ext cx="3180877" cy="5733695"/>
            <a:chOff x="7871044" y="199745"/>
            <a:chExt cx="3670329" cy="6615958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C8B8BF5-E214-9E4A-BA73-00B5226196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E89A5EFE-5F6C-884E-9B32-661E054CBE17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87214D4E-0F1A-624A-A09C-211D22FB8100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3409623" y="794980"/>
            <a:ext cx="2560630" cy="5057980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9708C2D-AE97-A94C-A8CD-7DE61A848106}"/>
              </a:ext>
            </a:extLst>
          </p:cNvPr>
          <p:cNvGrpSpPr/>
          <p:nvPr userDrawn="1"/>
        </p:nvGrpSpPr>
        <p:grpSpPr>
          <a:xfrm>
            <a:off x="5974080" y="663625"/>
            <a:ext cx="3180877" cy="5733695"/>
            <a:chOff x="7871044" y="199745"/>
            <a:chExt cx="3670329" cy="6615958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4440BAAD-BF7C-4345-A3B8-5D49B3F587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E263B2E2-79F5-6C44-B7E1-B442C2A3E9B2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2DEF7FB6-832E-5343-A125-9E08021A7118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406823" y="794980"/>
            <a:ext cx="2560630" cy="5057980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3E3F472-D6B5-5A4D-A7F5-8B22745006A6}"/>
              </a:ext>
            </a:extLst>
          </p:cNvPr>
          <p:cNvGrpSpPr/>
          <p:nvPr userDrawn="1"/>
        </p:nvGrpSpPr>
        <p:grpSpPr>
          <a:xfrm>
            <a:off x="8950960" y="663625"/>
            <a:ext cx="3180877" cy="5733695"/>
            <a:chOff x="7871044" y="199745"/>
            <a:chExt cx="3670329" cy="6615958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8DBED865-23BD-1443-AC36-5FC2B90658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1044" y="307324"/>
              <a:ext cx="3612785" cy="6508379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DB7B73D-89AE-A14A-B3EC-231DFDA1DC4D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321" y="199745"/>
              <a:ext cx="3358052" cy="6279007"/>
            </a:xfrm>
            <a:prstGeom prst="rect">
              <a:avLst/>
            </a:prstGeom>
          </p:spPr>
        </p:pic>
      </p:grp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80E299BD-ED3C-4043-8755-E6135E725CB8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9383703" y="794980"/>
            <a:ext cx="2560630" cy="5057980"/>
          </a:xfrm>
          <a:custGeom>
            <a:avLst/>
            <a:gdLst>
              <a:gd name="connsiteX0" fmla="*/ 214764 w 2083263"/>
              <a:gd name="connsiteY0" fmla="*/ 0 h 4431445"/>
              <a:gd name="connsiteX1" fmla="*/ 1868499 w 2083263"/>
              <a:gd name="connsiteY1" fmla="*/ 0 h 4431445"/>
              <a:gd name="connsiteX2" fmla="*/ 2083263 w 2083263"/>
              <a:gd name="connsiteY2" fmla="*/ 214764 h 4431445"/>
              <a:gd name="connsiteX3" fmla="*/ 2083263 w 2083263"/>
              <a:gd name="connsiteY3" fmla="*/ 4216681 h 4431445"/>
              <a:gd name="connsiteX4" fmla="*/ 1868499 w 2083263"/>
              <a:gd name="connsiteY4" fmla="*/ 4431445 h 4431445"/>
              <a:gd name="connsiteX5" fmla="*/ 214764 w 2083263"/>
              <a:gd name="connsiteY5" fmla="*/ 4431445 h 4431445"/>
              <a:gd name="connsiteX6" fmla="*/ 0 w 2083263"/>
              <a:gd name="connsiteY6" fmla="*/ 4216681 h 4431445"/>
              <a:gd name="connsiteX7" fmla="*/ 0 w 2083263"/>
              <a:gd name="connsiteY7" fmla="*/ 214764 h 4431445"/>
              <a:gd name="connsiteX8" fmla="*/ 214764 w 2083263"/>
              <a:gd name="connsiteY8" fmla="*/ 0 h 4431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3263" h="4431445">
                <a:moveTo>
                  <a:pt x="214764" y="0"/>
                </a:moveTo>
                <a:lnTo>
                  <a:pt x="1868499" y="0"/>
                </a:lnTo>
                <a:cubicBezTo>
                  <a:pt x="1987110" y="0"/>
                  <a:pt x="2083263" y="96153"/>
                  <a:pt x="2083263" y="214764"/>
                </a:cubicBezTo>
                <a:lnTo>
                  <a:pt x="2083263" y="4216681"/>
                </a:lnTo>
                <a:cubicBezTo>
                  <a:pt x="2083263" y="4335292"/>
                  <a:pt x="1987110" y="4431445"/>
                  <a:pt x="1868499" y="4431445"/>
                </a:cubicBezTo>
                <a:lnTo>
                  <a:pt x="214764" y="4431445"/>
                </a:lnTo>
                <a:cubicBezTo>
                  <a:pt x="96153" y="4431445"/>
                  <a:pt x="0" y="4335292"/>
                  <a:pt x="0" y="4216681"/>
                </a:cubicBezTo>
                <a:lnTo>
                  <a:pt x="0" y="214764"/>
                </a:lnTo>
                <a:cubicBezTo>
                  <a:pt x="0" y="96153"/>
                  <a:pt x="96153" y="0"/>
                  <a:pt x="214764" y="0"/>
                </a:cubicBezTo>
                <a:close/>
              </a:path>
            </a:pathLst>
          </a:custGeom>
          <a:pattFill prst="divot">
            <a:fgClr>
              <a:schemeClr val="accent1"/>
            </a:fgClr>
            <a:bgClr>
              <a:schemeClr val="bg1"/>
            </a:bgClr>
          </a:pattFill>
          <a:effectLst>
            <a:innerShdw blurRad="38100">
              <a:prstClr val="black"/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981892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3" grpId="0" animBg="1"/>
      <p:bldP spid="27" grpId="0" animBg="1"/>
      <p:bldP spid="31" grpId="0" animBg="1"/>
    </p:bld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/Grap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D337B06-23DB-184A-A321-4AB2B99FB1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31653" y="2620645"/>
            <a:ext cx="3554839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45F63A0-E3DF-344B-9955-922C141F50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33146" y="4047275"/>
            <a:ext cx="3541623" cy="117157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Place a small paragraph regarding the chart here. 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3FB88286-CE9A-1A48-8D87-5B193BD14EF5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72990" y="480036"/>
            <a:ext cx="6870700" cy="57451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chart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AF94283-B4C9-A947-AB73-CC28F1CAF4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64247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lationship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D337B06-23DB-184A-A321-4AB2B99FB1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485505" y="2620645"/>
            <a:ext cx="3600987" cy="1171575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Relationship Chart 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45F63A0-E3DF-344B-9955-922C141F50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33146" y="4047275"/>
            <a:ext cx="3541623" cy="117157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Place a small paragraph regarding the chart here.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C90C349-4936-854C-8D33-4042AA00B5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5" name="Chart Placeholder 2">
            <a:extLst>
              <a:ext uri="{FF2B5EF4-FFF2-40B4-BE49-F238E27FC236}">
                <a16:creationId xmlns:a16="http://schemas.microsoft.com/office/drawing/2014/main" id="{0D3A9251-8DDE-5645-A5E6-05252027CB67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72990" y="480036"/>
            <a:ext cx="6473384" cy="58421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chart here</a:t>
            </a:r>
          </a:p>
        </p:txBody>
      </p:sp>
    </p:spTree>
    <p:extLst>
      <p:ext uri="{BB962C8B-B14F-4D97-AF65-F5344CB8AC3E}">
        <p14:creationId xmlns:p14="http://schemas.microsoft.com/office/powerpoint/2010/main" val="324084324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lationship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17" name="Chart Placeholder 2">
            <a:extLst>
              <a:ext uri="{FF2B5EF4-FFF2-40B4-BE49-F238E27FC236}">
                <a16:creationId xmlns:a16="http://schemas.microsoft.com/office/drawing/2014/main" id="{EE9D8C2D-6009-E241-927E-DCA448CE1551}"/>
              </a:ext>
            </a:extLst>
          </p:cNvPr>
          <p:cNvSpPr>
            <a:spLocks noGrp="1"/>
          </p:cNvSpPr>
          <p:nvPr>
            <p:ph type="chart" sz="quarter" idx="30" hasCustomPrompt="1"/>
          </p:nvPr>
        </p:nvSpPr>
        <p:spPr>
          <a:xfrm>
            <a:off x="772990" y="480036"/>
            <a:ext cx="10614480" cy="294896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chart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BF8A4BB-0757-614E-976B-F8370CA8D2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17172" y="4450192"/>
            <a:ext cx="7369678" cy="726945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4400" b="1">
                <a:solidFill>
                  <a:srgbClr val="36495A"/>
                </a:solidFill>
              </a:defRPr>
            </a:lvl1pPr>
          </a:lstStyle>
          <a:p>
            <a:pPr lvl="0"/>
            <a:r>
              <a:rPr lang="en-US"/>
              <a:t>Relationship Chart 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CE3D7CF9-B30F-F746-9371-4D19F57D37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17172" y="5377099"/>
            <a:ext cx="4378828" cy="1162922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Aft>
                <a:spcPts val="1000"/>
              </a:spcAft>
              <a:buNone/>
              <a:defRPr sz="1400">
                <a:solidFill>
                  <a:srgbClr val="36495A"/>
                </a:solidFill>
              </a:defRPr>
            </a:lvl1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Place a small paragraph regarding the chart here. This text box can also be deleted. Place a small paragraph regarding the chart here. 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D8D86B0-B7DA-FB4B-800C-8AF0E1E9EE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54261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B33CF1-3C03-5F41-AA7B-6C8052D1D6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01" y="1510687"/>
            <a:ext cx="11302538" cy="4386322"/>
          </a:xfrm>
        </p:spPr>
        <p:txBody>
          <a:bodyPr numCol="2">
            <a:normAutofit/>
          </a:bodyPr>
          <a:lstStyle>
            <a:lvl1pPr marL="0" indent="0" fontAlgn="base">
              <a:lnSpc>
                <a:spcPct val="100000"/>
              </a:lnSpc>
              <a:buNone/>
              <a:defRPr sz="1400">
                <a:solidFill>
                  <a:srgbClr val="36495A"/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copy here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792745-7FC8-5649-A0BD-61F54CC2FA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8DE1917-5CD2-5B4E-AFD4-DEEBF6D409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36495A"/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24383910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B33CF1-3C03-5F41-AA7B-6C8052D1D6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01" y="1559847"/>
            <a:ext cx="11302538" cy="4386322"/>
          </a:xfrm>
        </p:spPr>
        <p:txBody>
          <a:bodyPr numCol="2">
            <a:normAutofit/>
          </a:bodyPr>
          <a:lstStyle>
            <a:lvl1pPr marL="0" indent="0" fontAlgn="base">
              <a:lnSpc>
                <a:spcPct val="100000"/>
              </a:lnSpc>
              <a:buNone/>
              <a:defRPr sz="1400">
                <a:solidFill>
                  <a:srgbClr val="36495A"/>
                </a:solidFill>
              </a:defRPr>
            </a:lvl1pPr>
            <a:lvl2pPr marL="4572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Place copy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792745-7FC8-5649-A0BD-61F54CC2FA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8DE1917-5CD2-5B4E-AFD4-DEEBF6D409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9"/>
            <a:ext cx="11302538" cy="68854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36495A"/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0FDA0F4-EA82-F640-8DF1-4719D584C1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501" y="1142768"/>
            <a:ext cx="11302538" cy="407767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rgbClr val="36495A"/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Subhead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6168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EAD816-52FA-444F-ACC3-C06C773E8E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0244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D492F5-E776-EF48-8AE7-7A489C3E26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A7BD07-FE97-3547-B6B1-C88A10DAA7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501" y="1622323"/>
            <a:ext cx="11302538" cy="4333158"/>
          </a:xfrm>
        </p:spPr>
        <p:txBody>
          <a:bodyPr>
            <a:normAutofit/>
          </a:bodyPr>
          <a:lstStyle>
            <a:lvl1pPr>
              <a:defRPr sz="1800" b="0" i="0">
                <a:solidFill>
                  <a:srgbClr val="36495A"/>
                </a:solidFill>
                <a:latin typeface="AmericanSans" panose="02000000000000000000" pitchFamily="2" charset="77"/>
              </a:defRPr>
            </a:lvl1pPr>
            <a:lvl2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2pPr>
            <a:lvl3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3pPr>
            <a:lvl4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4pPr>
            <a:lvl5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6440EED-D5E3-2B49-B0FA-F9A73048EE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36495A"/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088428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FLIGHT SYMBOL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A7BD07-FE97-3547-B6B1-C88A10DAA7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501" y="1622323"/>
            <a:ext cx="11302538" cy="4333158"/>
          </a:xfrm>
        </p:spPr>
        <p:txBody>
          <a:bodyPr>
            <a:normAutofit/>
          </a:bodyPr>
          <a:lstStyle>
            <a:lvl1pPr>
              <a:defRPr sz="1800" b="0" i="0">
                <a:solidFill>
                  <a:srgbClr val="36495A"/>
                </a:solidFill>
                <a:latin typeface="AmericanSans" panose="02000000000000000000" pitchFamily="2" charset="77"/>
              </a:defRPr>
            </a:lvl1pPr>
            <a:lvl2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2pPr>
            <a:lvl3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3pPr>
            <a:lvl4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4pPr>
            <a:lvl5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6440EED-D5E3-2B49-B0FA-F9A73048EE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36495A"/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499172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8F9F7A6-7AA4-5A41-B7B7-BFC8BEA57D63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DED7CE-B331-EE4A-A43D-EA9B18B450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501" y="383168"/>
            <a:ext cx="11302538" cy="1069047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List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0C73654-0070-4E4C-87EF-F5D515FE3D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01" y="1532153"/>
            <a:ext cx="5547499" cy="3793694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lvl="0"/>
            <a:endParaRPr lang="en-US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FB29E677-4029-4646-9D22-5BDE01105D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9373" y="1535873"/>
            <a:ext cx="5681666" cy="3793694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lace a small paragraph or bulleted list here</a:t>
            </a:r>
          </a:p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CD61CB1-E8EE-D34B-B824-1A9FC94EAA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18224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D492F5-E776-EF48-8AE7-7A489C3E26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A7BD07-FE97-3547-B6B1-C88A10DAA7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501" y="1622323"/>
            <a:ext cx="11302538" cy="4333158"/>
          </a:xfrm>
        </p:spPr>
        <p:txBody>
          <a:bodyPr>
            <a:normAutofit/>
          </a:bodyPr>
          <a:lstStyle>
            <a:lvl1pPr>
              <a:defRPr sz="1800" b="0" i="0">
                <a:solidFill>
                  <a:srgbClr val="36495A"/>
                </a:solidFill>
                <a:latin typeface="AmericanSans" panose="02000000000000000000" pitchFamily="2" charset="77"/>
              </a:defRPr>
            </a:lvl1pPr>
            <a:lvl2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2pPr>
            <a:lvl3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3pPr>
            <a:lvl4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4pPr>
            <a:lvl5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503B4C7-4CA0-6F41-8108-5C3DAE181E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9"/>
            <a:ext cx="11302538" cy="68854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100" b="1">
                <a:solidFill>
                  <a:srgbClr val="36495A"/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35B2DA6-6F3A-3844-9446-A57BEFC630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501" y="1142768"/>
            <a:ext cx="11302538" cy="407767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rgbClr val="36495A"/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Subhead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133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FLIGHT SYMBOL_Title, Subhead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A7BD07-FE97-3547-B6B1-C88A10DAA7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501" y="1622323"/>
            <a:ext cx="11302538" cy="4333158"/>
          </a:xfrm>
        </p:spPr>
        <p:txBody>
          <a:bodyPr>
            <a:normAutofit/>
          </a:bodyPr>
          <a:lstStyle>
            <a:lvl1pPr>
              <a:defRPr sz="1800" b="0" i="0">
                <a:solidFill>
                  <a:srgbClr val="36495A"/>
                </a:solidFill>
                <a:latin typeface="AmericanSans" panose="02000000000000000000" pitchFamily="2" charset="77"/>
              </a:defRPr>
            </a:lvl1pPr>
            <a:lvl2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2pPr>
            <a:lvl3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3pPr>
            <a:lvl4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4pPr>
            <a:lvl5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503B4C7-4CA0-6F41-8108-5C3DAE181E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9"/>
            <a:ext cx="11302538" cy="688548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100" b="1">
                <a:solidFill>
                  <a:srgbClr val="36495A"/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35B2DA6-6F3A-3844-9446-A57BEFC630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501" y="1142768"/>
            <a:ext cx="11302538" cy="407767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rgbClr val="36495A"/>
                </a:solidFill>
              </a:defRPr>
            </a:lvl1pPr>
            <a:lvl2pPr marL="457200" indent="0">
              <a:buNone/>
              <a:defRPr sz="4400"/>
            </a:lvl2pPr>
            <a:lvl3pPr marL="914400" indent="0">
              <a:buNone/>
              <a:defRPr sz="4400"/>
            </a:lvl3pPr>
            <a:lvl4pPr marL="1371600" indent="0">
              <a:buNone/>
              <a:defRPr sz="4400"/>
            </a:lvl4pPr>
            <a:lvl5pPr marL="1828800" indent="0">
              <a:buNone/>
              <a:defRPr sz="4400"/>
            </a:lvl5pPr>
          </a:lstStyle>
          <a:p>
            <a:pPr lvl="0"/>
            <a:r>
              <a:rPr lang="en-US" b="1"/>
              <a:t>Subhead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753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DF0D2A-0B3F-6946-8EF7-37C389D006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23660" y="1277327"/>
            <a:ext cx="8405078" cy="1219200"/>
          </a:xfr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rgbClr val="36495A"/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D492F5-E776-EF48-8AE7-7A489C3E26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E18CAF6-CF1F-4F48-A6F6-9A91F7BCADC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723660" y="2794000"/>
            <a:ext cx="9211040" cy="3161480"/>
          </a:xfrm>
        </p:spPr>
        <p:txBody>
          <a:bodyPr>
            <a:normAutofit/>
          </a:bodyPr>
          <a:lstStyle>
            <a:lvl1pPr>
              <a:defRPr sz="1800" b="0" i="0">
                <a:solidFill>
                  <a:srgbClr val="36495A"/>
                </a:solidFill>
                <a:latin typeface="AmericanSans" panose="02000000000000000000" pitchFamily="2" charset="77"/>
              </a:defRPr>
            </a:lvl1pPr>
            <a:lvl2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2pPr>
            <a:lvl3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3pPr>
            <a:lvl4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4pPr>
            <a:lvl5pPr>
              <a:defRPr sz="1600" b="0" i="0">
                <a:solidFill>
                  <a:srgbClr val="36495A"/>
                </a:solidFill>
                <a:latin typeface="AmericanSans" panose="02000000000000000000" pitchFamily="2" charset="77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2607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2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ject Mapp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4EDFB4D-447D-D243-980F-88E1ABB0D997}"/>
              </a:ext>
            </a:extLst>
          </p:cNvPr>
          <p:cNvSpPr/>
          <p:nvPr userDrawn="1"/>
        </p:nvSpPr>
        <p:spPr>
          <a:xfrm>
            <a:off x="1461818" y="2357465"/>
            <a:ext cx="2584174" cy="2385984"/>
          </a:xfrm>
          <a:prstGeom prst="rect">
            <a:avLst/>
          </a:prstGeom>
          <a:solidFill>
            <a:srgbClr val="0078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8A0E2A6-9986-F74E-927D-BC7EDBC6F913}"/>
              </a:ext>
            </a:extLst>
          </p:cNvPr>
          <p:cNvSpPr/>
          <p:nvPr userDrawn="1"/>
        </p:nvSpPr>
        <p:spPr>
          <a:xfrm>
            <a:off x="4185092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19CD2A4-9EA7-0A47-A18B-0C7FF8E60F1C}"/>
              </a:ext>
            </a:extLst>
          </p:cNvPr>
          <p:cNvSpPr/>
          <p:nvPr userDrawn="1"/>
        </p:nvSpPr>
        <p:spPr>
          <a:xfrm>
            <a:off x="6908366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4CDA239-D55D-CE49-A4A2-CB54F4683896}"/>
              </a:ext>
            </a:extLst>
          </p:cNvPr>
          <p:cNvSpPr/>
          <p:nvPr userDrawn="1"/>
        </p:nvSpPr>
        <p:spPr>
          <a:xfrm>
            <a:off x="9631639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486D25C-B396-E948-9E8A-C105ADA4A71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 flipH="1">
            <a:off x="1624162" y="2594344"/>
            <a:ext cx="1520456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414C43F0-B08A-8644-BEEE-9B80A5B79B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96582" y="2594345"/>
            <a:ext cx="1680424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D3455E-5F14-A24A-A459-95F81F6EF2C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24162" y="359328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C365794-0B51-AC44-BF7A-29191E3347B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46577" y="2608522"/>
            <a:ext cx="1538657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A8E5F349-7158-3D47-93B2-79611570B16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52357" y="2601433"/>
            <a:ext cx="1758396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4B95D5-7FC0-D647-B638-168A7ED2A1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4A19D7C2-626A-3E46-81CA-3E18C22753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36495A"/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9838A5E-9E86-5848-8CE5-F0758E827E8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396582" y="359328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E2A27B9-0BA0-554C-840B-C59FF54387E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46577" y="359328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A1FDCF7-A79E-2346-B06B-FCD23CFE44A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47169" y="359328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</p:spTree>
    <p:extLst>
      <p:ext uri="{BB962C8B-B14F-4D97-AF65-F5344CB8AC3E}">
        <p14:creationId xmlns:p14="http://schemas.microsoft.com/office/powerpoint/2010/main" val="375046026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Mapp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83A7216-4372-8B44-BA1B-9B935FC4F18D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4EDFB4D-447D-D243-980F-88E1ABB0D997}"/>
              </a:ext>
            </a:extLst>
          </p:cNvPr>
          <p:cNvSpPr/>
          <p:nvPr userDrawn="1"/>
        </p:nvSpPr>
        <p:spPr>
          <a:xfrm>
            <a:off x="85061" y="2368097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8A0E2A6-9986-F74E-927D-BC7EDBC6F913}"/>
              </a:ext>
            </a:extLst>
          </p:cNvPr>
          <p:cNvSpPr/>
          <p:nvPr userDrawn="1"/>
        </p:nvSpPr>
        <p:spPr>
          <a:xfrm>
            <a:off x="2827452" y="2368097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19CD2A4-9EA7-0A47-A18B-0C7FF8E60F1C}"/>
              </a:ext>
            </a:extLst>
          </p:cNvPr>
          <p:cNvSpPr/>
          <p:nvPr userDrawn="1"/>
        </p:nvSpPr>
        <p:spPr>
          <a:xfrm>
            <a:off x="5572392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4CDA239-D55D-CE49-A4A2-CB54F4683896}"/>
              </a:ext>
            </a:extLst>
          </p:cNvPr>
          <p:cNvSpPr/>
          <p:nvPr userDrawn="1"/>
        </p:nvSpPr>
        <p:spPr>
          <a:xfrm>
            <a:off x="8314783" y="2357465"/>
            <a:ext cx="2584174" cy="2385984"/>
          </a:xfrm>
          <a:prstGeom prst="rect">
            <a:avLst/>
          </a:prstGeom>
          <a:solidFill>
            <a:srgbClr val="D0DA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8FE0F6D-137D-AA42-8FC8-4FF55A5E7AA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33437" y="2604977"/>
            <a:ext cx="1276386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390A3B2-9555-2740-912D-52ED0EBE081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053334" y="2608520"/>
            <a:ext cx="1379169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637A4BEB-6926-EF4A-86DE-4D1BD7E24F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801352" y="2590800"/>
            <a:ext cx="1428787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2911AE25-5205-9B48-AFEB-4DD39838F7B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546821" y="2594345"/>
            <a:ext cx="1478407" cy="627321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36495A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8658060-DE13-CD43-82B9-C621D3339B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1A96D0D-6A10-BA4F-88B3-A1373782EF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501" y="383168"/>
            <a:ext cx="11302538" cy="106904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36495A"/>
                </a:solidFill>
              </a:defRPr>
            </a:lvl1pPr>
            <a:lvl2pPr marL="4572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F88D97E-EBD8-3B40-94E1-5BA05EDE09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9436" y="3625703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82441CF0-7376-3240-9ABF-85CFBEBDD30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053334" y="3625702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59B43D2-E9C2-E34E-8970-B478A051D7D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799598" y="3625701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581C4E8-FCDC-F049-BE88-3FC03B28DD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543263" y="3625700"/>
            <a:ext cx="2127213" cy="65973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  <a:p>
            <a:pPr lvl="0"/>
            <a:r>
              <a:rPr lang="en-US"/>
              <a:t>Details for step one.</a:t>
            </a:r>
          </a:p>
          <a:p>
            <a:pPr lvl="0"/>
            <a:r>
              <a:rPr lang="en-US"/>
              <a:t>Enter more details here. </a:t>
            </a:r>
          </a:p>
        </p:txBody>
      </p:sp>
    </p:spTree>
    <p:extLst>
      <p:ext uri="{BB962C8B-B14F-4D97-AF65-F5344CB8AC3E}">
        <p14:creationId xmlns:p14="http://schemas.microsoft.com/office/powerpoint/2010/main" val="176365596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YAWWF_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E1344B8-AE46-8447-A782-7EC7F96B4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5564" y="5244389"/>
            <a:ext cx="4635500" cy="1068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48190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YAWWF_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E1344B8-AE46-8447-A782-7EC7F96B4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6064" y="5117389"/>
            <a:ext cx="4635500" cy="1068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05181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YAWWF_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E1344B8-AE46-8447-A782-7EC7F96B4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9008" y="506942"/>
            <a:ext cx="4635500" cy="1068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22700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966174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AE39F50-A8C2-944D-9A81-86FCB970C729}"/>
              </a:ext>
            </a:extLst>
          </p:cNvPr>
          <p:cNvSpPr/>
          <p:nvPr userDrawn="1"/>
        </p:nvSpPr>
        <p:spPr>
          <a:xfrm>
            <a:off x="0" y="0"/>
            <a:ext cx="12192000" cy="6866456"/>
          </a:xfrm>
          <a:prstGeom prst="rect">
            <a:avLst/>
          </a:prstGeom>
          <a:solidFill>
            <a:srgbClr val="007F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FFB3669-F614-1D46-9E95-63569CCB287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14463" y="2104103"/>
            <a:ext cx="9363075" cy="1540753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Slide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DFD606CB-5980-864E-BC3E-942C4C3D517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414463" y="3644857"/>
            <a:ext cx="9363075" cy="276224"/>
          </a:xfrm>
        </p:spPr>
        <p:txBody>
          <a:bodyPr>
            <a:norm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 of Chapt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E6EEB7-F5BE-9142-8E28-A2D9A8C3F2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590288"/>
            <a:ext cx="2573273" cy="2267712"/>
          </a:xfrm>
          <a:prstGeom prst="rect">
            <a:avLst/>
          </a:prstGeom>
        </p:spPr>
      </p:pic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FB74312-32B5-2F4A-BB47-FF03A284B08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99935" y="6281928"/>
            <a:ext cx="3392129" cy="276224"/>
          </a:xfrm>
        </p:spPr>
        <p:txBody>
          <a:bodyPr>
            <a:norm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ivileged &amp; Confidential</a:t>
            </a:r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B2E3C8A-FEF7-0647-86CB-796410E2EF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843531" y="214536"/>
            <a:ext cx="3191256" cy="48494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9F7809A-8F10-634D-9558-A10BEB6ACC9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8987" y="6077140"/>
            <a:ext cx="6858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5688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42" Type="http://schemas.openxmlformats.org/officeDocument/2006/relationships/slideLayout" Target="../slideLayouts/slideLayout92.xml"/><Relationship Id="rId47" Type="http://schemas.openxmlformats.org/officeDocument/2006/relationships/slideLayout" Target="../slideLayouts/slideLayout97.xml"/><Relationship Id="rId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slideLayout" Target="../slideLayouts/slideLayout90.xml"/><Relationship Id="rId45" Type="http://schemas.openxmlformats.org/officeDocument/2006/relationships/slideLayout" Target="../slideLayouts/slideLayout95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49" Type="http://schemas.openxmlformats.org/officeDocument/2006/relationships/theme" Target="../theme/theme2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4" Type="http://schemas.openxmlformats.org/officeDocument/2006/relationships/slideLayout" Target="../slideLayouts/slideLayout94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Relationship Id="rId43" Type="http://schemas.openxmlformats.org/officeDocument/2006/relationships/slideLayout" Target="../slideLayouts/slideLayout93.xml"/><Relationship Id="rId48" Type="http://schemas.openxmlformats.org/officeDocument/2006/relationships/slideLayout" Target="../slideLayouts/slideLayout98.xml"/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slideLayout" Target="../slideLayouts/slideLayout88.xml"/><Relationship Id="rId4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70.xml"/><Relationship Id="rId41" Type="http://schemas.openxmlformats.org/officeDocument/2006/relationships/slideLayout" Target="../slideLayouts/slideLayout91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slideLayout" Target="../slideLayouts/slideLayout124.xml"/><Relationship Id="rId39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19.xml"/><Relationship Id="rId34" Type="http://schemas.openxmlformats.org/officeDocument/2006/relationships/slideLayout" Target="../slideLayouts/slideLayout132.xml"/><Relationship Id="rId42" Type="http://schemas.openxmlformats.org/officeDocument/2006/relationships/slideLayout" Target="../slideLayouts/slideLayout140.xml"/><Relationship Id="rId47" Type="http://schemas.openxmlformats.org/officeDocument/2006/relationships/slideLayout" Target="../slideLayouts/slideLayout145.xml"/><Relationship Id="rId50" Type="http://schemas.openxmlformats.org/officeDocument/2006/relationships/theme" Target="../theme/theme3.xml"/><Relationship Id="rId7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9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32" Type="http://schemas.openxmlformats.org/officeDocument/2006/relationships/slideLayout" Target="../slideLayouts/slideLayout130.xml"/><Relationship Id="rId37" Type="http://schemas.openxmlformats.org/officeDocument/2006/relationships/slideLayout" Target="../slideLayouts/slideLayout135.xml"/><Relationship Id="rId40" Type="http://schemas.openxmlformats.org/officeDocument/2006/relationships/slideLayout" Target="../slideLayouts/slideLayout138.xml"/><Relationship Id="rId45" Type="http://schemas.openxmlformats.org/officeDocument/2006/relationships/slideLayout" Target="../slideLayouts/slideLayout143.xml"/><Relationship Id="rId53" Type="http://schemas.openxmlformats.org/officeDocument/2006/relationships/image" Target="../media/image24.emf"/><Relationship Id="rId5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31" Type="http://schemas.openxmlformats.org/officeDocument/2006/relationships/slideLayout" Target="../slideLayouts/slideLayout129.xml"/><Relationship Id="rId44" Type="http://schemas.openxmlformats.org/officeDocument/2006/relationships/slideLayout" Target="../slideLayouts/slideLayout142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slideLayout" Target="../slideLayouts/slideLayout125.xml"/><Relationship Id="rId30" Type="http://schemas.openxmlformats.org/officeDocument/2006/relationships/slideLayout" Target="../slideLayouts/slideLayout128.xml"/><Relationship Id="rId35" Type="http://schemas.openxmlformats.org/officeDocument/2006/relationships/slideLayout" Target="../slideLayouts/slideLayout133.xml"/><Relationship Id="rId43" Type="http://schemas.openxmlformats.org/officeDocument/2006/relationships/slideLayout" Target="../slideLayouts/slideLayout141.xml"/><Relationship Id="rId48" Type="http://schemas.openxmlformats.org/officeDocument/2006/relationships/slideLayout" Target="../slideLayouts/slideLayout146.xml"/><Relationship Id="rId8" Type="http://schemas.openxmlformats.org/officeDocument/2006/relationships/slideLayout" Target="../slideLayouts/slideLayout106.xml"/><Relationship Id="rId51" Type="http://schemas.openxmlformats.org/officeDocument/2006/relationships/tags" Target="../tags/tag1.xml"/><Relationship Id="rId3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33" Type="http://schemas.openxmlformats.org/officeDocument/2006/relationships/slideLayout" Target="../slideLayouts/slideLayout131.xml"/><Relationship Id="rId38" Type="http://schemas.openxmlformats.org/officeDocument/2006/relationships/slideLayout" Target="../slideLayouts/slideLayout136.xml"/><Relationship Id="rId46" Type="http://schemas.openxmlformats.org/officeDocument/2006/relationships/slideLayout" Target="../slideLayouts/slideLayout144.xml"/><Relationship Id="rId20" Type="http://schemas.openxmlformats.org/officeDocument/2006/relationships/slideLayout" Target="../slideLayouts/slideLayout118.xml"/><Relationship Id="rId41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slideLayout" Target="../slideLayouts/slideLayout126.xml"/><Relationship Id="rId36" Type="http://schemas.openxmlformats.org/officeDocument/2006/relationships/slideLayout" Target="../slideLayouts/slideLayout134.xml"/><Relationship Id="rId49" Type="http://schemas.openxmlformats.org/officeDocument/2006/relationships/slideLayout" Target="../slideLayouts/slideLayout14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0.xml"/><Relationship Id="rId18" Type="http://schemas.openxmlformats.org/officeDocument/2006/relationships/slideLayout" Target="../slideLayouts/slideLayout165.xml"/><Relationship Id="rId26" Type="http://schemas.openxmlformats.org/officeDocument/2006/relationships/slideLayout" Target="../slideLayouts/slideLayout173.xml"/><Relationship Id="rId39" Type="http://schemas.openxmlformats.org/officeDocument/2006/relationships/slideLayout" Target="../slideLayouts/slideLayout186.xml"/><Relationship Id="rId21" Type="http://schemas.openxmlformats.org/officeDocument/2006/relationships/slideLayout" Target="../slideLayouts/slideLayout168.xml"/><Relationship Id="rId34" Type="http://schemas.openxmlformats.org/officeDocument/2006/relationships/slideLayout" Target="../slideLayouts/slideLayout181.xml"/><Relationship Id="rId42" Type="http://schemas.openxmlformats.org/officeDocument/2006/relationships/slideLayout" Target="../slideLayouts/slideLayout189.xml"/><Relationship Id="rId47" Type="http://schemas.openxmlformats.org/officeDocument/2006/relationships/slideLayout" Target="../slideLayouts/slideLayout194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49.xml"/><Relationship Id="rId16" Type="http://schemas.openxmlformats.org/officeDocument/2006/relationships/slideLayout" Target="../slideLayouts/slideLayout163.xml"/><Relationship Id="rId29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58.xml"/><Relationship Id="rId24" Type="http://schemas.openxmlformats.org/officeDocument/2006/relationships/slideLayout" Target="../slideLayouts/slideLayout171.xml"/><Relationship Id="rId32" Type="http://schemas.openxmlformats.org/officeDocument/2006/relationships/slideLayout" Target="../slideLayouts/slideLayout179.xml"/><Relationship Id="rId37" Type="http://schemas.openxmlformats.org/officeDocument/2006/relationships/slideLayout" Target="../slideLayouts/slideLayout184.xml"/><Relationship Id="rId40" Type="http://schemas.openxmlformats.org/officeDocument/2006/relationships/slideLayout" Target="../slideLayouts/slideLayout187.xml"/><Relationship Id="rId45" Type="http://schemas.openxmlformats.org/officeDocument/2006/relationships/slideLayout" Target="../slideLayouts/slideLayout192.xml"/><Relationship Id="rId5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2.xml"/><Relationship Id="rId23" Type="http://schemas.openxmlformats.org/officeDocument/2006/relationships/slideLayout" Target="../slideLayouts/slideLayout170.xml"/><Relationship Id="rId28" Type="http://schemas.openxmlformats.org/officeDocument/2006/relationships/slideLayout" Target="../slideLayouts/slideLayout175.xml"/><Relationship Id="rId36" Type="http://schemas.openxmlformats.org/officeDocument/2006/relationships/slideLayout" Target="../slideLayouts/slideLayout183.xml"/><Relationship Id="rId49" Type="http://schemas.openxmlformats.org/officeDocument/2006/relationships/theme" Target="../theme/theme4.xml"/><Relationship Id="rId10" Type="http://schemas.openxmlformats.org/officeDocument/2006/relationships/slideLayout" Target="../slideLayouts/slideLayout157.xml"/><Relationship Id="rId19" Type="http://schemas.openxmlformats.org/officeDocument/2006/relationships/slideLayout" Target="../slideLayouts/slideLayout166.xml"/><Relationship Id="rId31" Type="http://schemas.openxmlformats.org/officeDocument/2006/relationships/slideLayout" Target="../slideLayouts/slideLayout178.xml"/><Relationship Id="rId44" Type="http://schemas.openxmlformats.org/officeDocument/2006/relationships/slideLayout" Target="../slideLayouts/slideLayout191.xml"/><Relationship Id="rId52" Type="http://schemas.openxmlformats.org/officeDocument/2006/relationships/image" Target="../media/image24.emf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Relationship Id="rId22" Type="http://schemas.openxmlformats.org/officeDocument/2006/relationships/slideLayout" Target="../slideLayouts/slideLayout169.xml"/><Relationship Id="rId27" Type="http://schemas.openxmlformats.org/officeDocument/2006/relationships/slideLayout" Target="../slideLayouts/slideLayout174.xml"/><Relationship Id="rId30" Type="http://schemas.openxmlformats.org/officeDocument/2006/relationships/slideLayout" Target="../slideLayouts/slideLayout177.xml"/><Relationship Id="rId35" Type="http://schemas.openxmlformats.org/officeDocument/2006/relationships/slideLayout" Target="../slideLayouts/slideLayout182.xml"/><Relationship Id="rId43" Type="http://schemas.openxmlformats.org/officeDocument/2006/relationships/slideLayout" Target="../slideLayouts/slideLayout190.xml"/><Relationship Id="rId48" Type="http://schemas.openxmlformats.org/officeDocument/2006/relationships/slideLayout" Target="../slideLayouts/slideLayout195.xml"/><Relationship Id="rId8" Type="http://schemas.openxmlformats.org/officeDocument/2006/relationships/slideLayout" Target="../slideLayouts/slideLayout155.xml"/><Relationship Id="rId51" Type="http://schemas.openxmlformats.org/officeDocument/2006/relationships/oleObject" Target="../embeddings/oleObject2.bin"/><Relationship Id="rId3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9.xml"/><Relationship Id="rId17" Type="http://schemas.openxmlformats.org/officeDocument/2006/relationships/slideLayout" Target="../slideLayouts/slideLayout164.xml"/><Relationship Id="rId25" Type="http://schemas.openxmlformats.org/officeDocument/2006/relationships/slideLayout" Target="../slideLayouts/slideLayout172.xml"/><Relationship Id="rId33" Type="http://schemas.openxmlformats.org/officeDocument/2006/relationships/slideLayout" Target="../slideLayouts/slideLayout180.xml"/><Relationship Id="rId38" Type="http://schemas.openxmlformats.org/officeDocument/2006/relationships/slideLayout" Target="../slideLayouts/slideLayout185.xml"/><Relationship Id="rId46" Type="http://schemas.openxmlformats.org/officeDocument/2006/relationships/slideLayout" Target="../slideLayouts/slideLayout193.xml"/><Relationship Id="rId20" Type="http://schemas.openxmlformats.org/officeDocument/2006/relationships/slideLayout" Target="../slideLayouts/slideLayout167.xml"/><Relationship Id="rId41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986A887-2C5E-C54F-8512-1286030C27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1BF3C6-D6D4-0345-82CE-6DCD0251FC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F1160C4-F052-476F-8A60-D00A448C8B15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E1FFB73-BCA0-4A02-F34D-D238614584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500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806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797" r:id="rId8"/>
    <p:sldLayoutId id="2147483799" r:id="rId9"/>
    <p:sldLayoutId id="2147483802" r:id="rId10"/>
    <p:sldLayoutId id="2147483803" r:id="rId11"/>
    <p:sldLayoutId id="2147483804" r:id="rId12"/>
    <p:sldLayoutId id="2147483800" r:id="rId13"/>
    <p:sldLayoutId id="2147483801" r:id="rId14"/>
    <p:sldLayoutId id="2147483812" r:id="rId15"/>
    <p:sldLayoutId id="2147483811" r:id="rId16"/>
    <p:sldLayoutId id="2147483814" r:id="rId17"/>
    <p:sldLayoutId id="2147483819" r:id="rId18"/>
    <p:sldLayoutId id="2147483679" r:id="rId19"/>
    <p:sldLayoutId id="2147483680" r:id="rId20"/>
    <p:sldLayoutId id="2147483816" r:id="rId21"/>
    <p:sldLayoutId id="2147483682" r:id="rId22"/>
    <p:sldLayoutId id="2147483683" r:id="rId23"/>
    <p:sldLayoutId id="2147483815" r:id="rId24"/>
    <p:sldLayoutId id="2147483685" r:id="rId25"/>
    <p:sldLayoutId id="2147483820" r:id="rId26"/>
    <p:sldLayoutId id="2147483821" r:id="rId27"/>
    <p:sldLayoutId id="2147483688" r:id="rId28"/>
    <p:sldLayoutId id="2147483689" r:id="rId29"/>
    <p:sldLayoutId id="2147483690" r:id="rId30"/>
    <p:sldLayoutId id="2147483813" r:id="rId31"/>
    <p:sldLayoutId id="2147483692" r:id="rId32"/>
    <p:sldLayoutId id="2147483693" r:id="rId33"/>
    <p:sldLayoutId id="2147483694" r:id="rId34"/>
    <p:sldLayoutId id="2147483808" r:id="rId35"/>
    <p:sldLayoutId id="2147483807" r:id="rId36"/>
    <p:sldLayoutId id="2147483697" r:id="rId37"/>
    <p:sldLayoutId id="2147483798" r:id="rId38"/>
    <p:sldLayoutId id="2147483805" r:id="rId39"/>
    <p:sldLayoutId id="2147483822" r:id="rId40"/>
    <p:sldLayoutId id="2147483823" r:id="rId41"/>
    <p:sldLayoutId id="2147483702" r:id="rId42"/>
    <p:sldLayoutId id="2147483703" r:id="rId43"/>
    <p:sldLayoutId id="2147483809" r:id="rId44"/>
    <p:sldLayoutId id="2147483810" r:id="rId45"/>
    <p:sldLayoutId id="2147483817" r:id="rId46"/>
    <p:sldLayoutId id="2147483818" r:id="rId47"/>
    <p:sldLayoutId id="2147483708" r:id="rId48"/>
    <p:sldLayoutId id="2147483874" r:id="rId49"/>
    <p:sldLayoutId id="2147483875" r:id="rId5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mericanSans" panose="02000000000000000000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986A887-2C5E-C54F-8512-1286030C27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1BF3C6-D6D4-0345-82CE-6DCD0251FC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2079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  <p:sldLayoutId id="2147483761" r:id="rId15"/>
    <p:sldLayoutId id="2147483762" r:id="rId16"/>
    <p:sldLayoutId id="2147483763" r:id="rId17"/>
    <p:sldLayoutId id="2147483764" r:id="rId18"/>
    <p:sldLayoutId id="2147483765" r:id="rId19"/>
    <p:sldLayoutId id="2147483766" r:id="rId20"/>
    <p:sldLayoutId id="2147483767" r:id="rId21"/>
    <p:sldLayoutId id="2147483768" r:id="rId22"/>
    <p:sldLayoutId id="2147483769" r:id="rId23"/>
    <p:sldLayoutId id="2147483770" r:id="rId24"/>
    <p:sldLayoutId id="2147483771" r:id="rId25"/>
    <p:sldLayoutId id="2147483772" r:id="rId26"/>
    <p:sldLayoutId id="2147483773" r:id="rId27"/>
    <p:sldLayoutId id="2147483774" r:id="rId28"/>
    <p:sldLayoutId id="2147483775" r:id="rId29"/>
    <p:sldLayoutId id="2147483776" r:id="rId30"/>
    <p:sldLayoutId id="2147483777" r:id="rId31"/>
    <p:sldLayoutId id="2147483778" r:id="rId32"/>
    <p:sldLayoutId id="2147483779" r:id="rId33"/>
    <p:sldLayoutId id="2147483780" r:id="rId34"/>
    <p:sldLayoutId id="2147483781" r:id="rId35"/>
    <p:sldLayoutId id="2147483782" r:id="rId36"/>
    <p:sldLayoutId id="2147483783" r:id="rId37"/>
    <p:sldLayoutId id="2147483784" r:id="rId38"/>
    <p:sldLayoutId id="2147483785" r:id="rId39"/>
    <p:sldLayoutId id="2147483786" r:id="rId40"/>
    <p:sldLayoutId id="2147483787" r:id="rId41"/>
    <p:sldLayoutId id="2147483788" r:id="rId42"/>
    <p:sldLayoutId id="2147483789" r:id="rId43"/>
    <p:sldLayoutId id="2147483790" r:id="rId44"/>
    <p:sldLayoutId id="2147483791" r:id="rId45"/>
    <p:sldLayoutId id="2147483792" r:id="rId46"/>
    <p:sldLayoutId id="2147483793" r:id="rId47"/>
    <p:sldLayoutId id="2147483794" r:id="rId4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mericanSans" panose="02000000000000000000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528DB66-012E-459B-99AB-57F1175E6F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19158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411" imgH="412" progId="TCLayout.ActiveDocument.1">
                  <p:embed/>
                </p:oleObj>
              </mc:Choice>
              <mc:Fallback>
                <p:oleObj name="think-cell Slide" r:id="rId52" imgW="411" imgH="41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528DB66-012E-459B-99AB-57F1175E6F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986A887-2C5E-C54F-8512-1286030C27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1BF3C6-D6D4-0345-82CE-6DCD0251FC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4102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709" r:id="rId2"/>
    <p:sldLayoutId id="2147483721" r:id="rId3"/>
    <p:sldLayoutId id="2147483698" r:id="rId4"/>
    <p:sldLayoutId id="2147483669" r:id="rId5"/>
    <p:sldLayoutId id="2147483673" r:id="rId6"/>
    <p:sldLayoutId id="2147483674" r:id="rId7"/>
    <p:sldLayoutId id="2147483722" r:id="rId8"/>
    <p:sldLayoutId id="2147483670" r:id="rId9"/>
    <p:sldLayoutId id="2147483671" r:id="rId10"/>
    <p:sldLayoutId id="2147483672" r:id="rId11"/>
    <p:sldLayoutId id="2147483699" r:id="rId12"/>
    <p:sldLayoutId id="2147483662" r:id="rId13"/>
    <p:sldLayoutId id="2147483696" r:id="rId14"/>
    <p:sldLayoutId id="2147483695" r:id="rId15"/>
    <p:sldLayoutId id="2147483704" r:id="rId16"/>
    <p:sldLayoutId id="2147483705" r:id="rId17"/>
    <p:sldLayoutId id="2147483676" r:id="rId18"/>
    <p:sldLayoutId id="2147483675" r:id="rId19"/>
    <p:sldLayoutId id="2147483718" r:id="rId20"/>
    <p:sldLayoutId id="2147483691" r:id="rId21"/>
    <p:sldLayoutId id="2147483677" r:id="rId22"/>
    <p:sldLayoutId id="2147483717" r:id="rId23"/>
    <p:sldLayoutId id="2147483712" r:id="rId24"/>
    <p:sldLayoutId id="2147483684" r:id="rId25"/>
    <p:sldLayoutId id="2147483681" r:id="rId26"/>
    <p:sldLayoutId id="2147483706" r:id="rId27"/>
    <p:sldLayoutId id="2147483707" r:id="rId28"/>
    <p:sldLayoutId id="2147483732" r:id="rId29"/>
    <p:sldLayoutId id="2147483729" r:id="rId30"/>
    <p:sldLayoutId id="2147483730" r:id="rId31"/>
    <p:sldLayoutId id="2147483678" r:id="rId32"/>
    <p:sldLayoutId id="2147483715" r:id="rId33"/>
    <p:sldLayoutId id="2147483716" r:id="rId34"/>
    <p:sldLayoutId id="2147483719" r:id="rId35"/>
    <p:sldLayoutId id="2147483725" r:id="rId36"/>
    <p:sldLayoutId id="2147483686" r:id="rId37"/>
    <p:sldLayoutId id="2147483724" r:id="rId38"/>
    <p:sldLayoutId id="2147483736" r:id="rId39"/>
    <p:sldLayoutId id="2147483728" r:id="rId40"/>
    <p:sldLayoutId id="2147483737" r:id="rId41"/>
    <p:sldLayoutId id="2147483687" r:id="rId42"/>
    <p:sldLayoutId id="2147483700" r:id="rId43"/>
    <p:sldLayoutId id="2147483701" r:id="rId44"/>
    <p:sldLayoutId id="2147483726" r:id="rId45"/>
    <p:sldLayoutId id="2147483733" r:id="rId46"/>
    <p:sldLayoutId id="2147483734" r:id="rId47"/>
    <p:sldLayoutId id="2147483735" r:id="rId48"/>
    <p:sldLayoutId id="2147483745" r:id="rId4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mericanSans" panose="02000000000000000000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47ED49D-9192-5D17-0A6B-845911C818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3207660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411" imgH="412" progId="TCLayout.ActiveDocument.1">
                  <p:embed/>
                </p:oleObj>
              </mc:Choice>
              <mc:Fallback>
                <p:oleObj name="think-cell Slide" r:id="rId51" imgW="411" imgH="41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7ED49D-9192-5D17-0A6B-845911C8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986A887-2C5E-C54F-8512-1286030C27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1BF3C6-D6D4-0345-82CE-6DCD0251FC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F1160C4-F052-476F-8A60-D00A448C8B15}"/>
              </a:ext>
            </a:extLst>
          </p:cNvPr>
          <p:cNvSpPr txBox="1"/>
          <p:nvPr userDrawn="1"/>
        </p:nvSpPr>
        <p:spPr>
          <a:xfrm>
            <a:off x="11790245" y="6540021"/>
            <a:ext cx="416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9FE9AA4-4958-2F4C-B132-D6D4A6BFEF97}" type="slidenum">
              <a:rPr lang="en-US" sz="900" b="0" i="1" smtClean="0">
                <a:solidFill>
                  <a:schemeClr val="bg2">
                    <a:lumMod val="25000"/>
                  </a:schemeClr>
                </a:solidFill>
                <a:latin typeface="AmericanSans" panose="02000000000000000000" pitchFamily="2" charset="77"/>
              </a:rPr>
              <a:t>‹#›</a:t>
            </a:fld>
            <a:endParaRPr lang="en-US" sz="900" b="0" i="1" dirty="0">
              <a:solidFill>
                <a:schemeClr val="bg2">
                  <a:lumMod val="25000"/>
                </a:schemeClr>
              </a:solidFill>
              <a:latin typeface="AmericanSans" panose="02000000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906192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  <p:sldLayoutId id="2147483837" r:id="rId13"/>
    <p:sldLayoutId id="2147483838" r:id="rId14"/>
    <p:sldLayoutId id="2147483839" r:id="rId15"/>
    <p:sldLayoutId id="2147483840" r:id="rId16"/>
    <p:sldLayoutId id="2147483841" r:id="rId17"/>
    <p:sldLayoutId id="2147483842" r:id="rId18"/>
    <p:sldLayoutId id="2147483843" r:id="rId19"/>
    <p:sldLayoutId id="2147483844" r:id="rId20"/>
    <p:sldLayoutId id="2147483845" r:id="rId21"/>
    <p:sldLayoutId id="2147483846" r:id="rId22"/>
    <p:sldLayoutId id="2147483847" r:id="rId23"/>
    <p:sldLayoutId id="2147483848" r:id="rId24"/>
    <p:sldLayoutId id="2147483849" r:id="rId25"/>
    <p:sldLayoutId id="2147483850" r:id="rId26"/>
    <p:sldLayoutId id="2147483851" r:id="rId27"/>
    <p:sldLayoutId id="2147483852" r:id="rId28"/>
    <p:sldLayoutId id="2147483853" r:id="rId29"/>
    <p:sldLayoutId id="2147483854" r:id="rId30"/>
    <p:sldLayoutId id="2147483855" r:id="rId31"/>
    <p:sldLayoutId id="2147483856" r:id="rId32"/>
    <p:sldLayoutId id="2147483857" r:id="rId33"/>
    <p:sldLayoutId id="2147483858" r:id="rId34"/>
    <p:sldLayoutId id="2147483859" r:id="rId35"/>
    <p:sldLayoutId id="2147483860" r:id="rId36"/>
    <p:sldLayoutId id="2147483861" r:id="rId37"/>
    <p:sldLayoutId id="2147483862" r:id="rId38"/>
    <p:sldLayoutId id="2147483863" r:id="rId39"/>
    <p:sldLayoutId id="2147483864" r:id="rId40"/>
    <p:sldLayoutId id="2147483865" r:id="rId41"/>
    <p:sldLayoutId id="2147483866" r:id="rId42"/>
    <p:sldLayoutId id="2147483867" r:id="rId43"/>
    <p:sldLayoutId id="2147483868" r:id="rId44"/>
    <p:sldLayoutId id="2147483869" r:id="rId45"/>
    <p:sldLayoutId id="2147483870" r:id="rId46"/>
    <p:sldLayoutId id="2147483871" r:id="rId47"/>
    <p:sldLayoutId id="2147483872" r:id="rId4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mericanSans" panose="02000000000000000000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mericanSans" panose="02000000000000000000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3588519-333D-D48F-D7E2-C47A563EB9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4972" y="2056825"/>
            <a:ext cx="10121900" cy="1877722"/>
          </a:xfrm>
        </p:spPr>
        <p:txBody>
          <a:bodyPr/>
          <a:lstStyle/>
          <a:p>
            <a:r>
              <a:rPr lang="en-US" dirty="0"/>
              <a:t>An Update on Policy Developments and How Stakeholders Can Respon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928D18-2BB1-3FD5-E422-234C5A3A8E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09775" y="5411638"/>
            <a:ext cx="8172450" cy="1391933"/>
          </a:xfrm>
        </p:spPr>
        <p:txBody>
          <a:bodyPr/>
          <a:lstStyle/>
          <a:p>
            <a:r>
              <a:rPr lang="en-US" sz="2000" b="1" dirty="0"/>
              <a:t>Ronce Almond</a:t>
            </a:r>
          </a:p>
          <a:p>
            <a:r>
              <a:rPr lang="en-US" sz="2000" dirty="0"/>
              <a:t>Managing Director</a:t>
            </a:r>
          </a:p>
          <a:p>
            <a:r>
              <a:rPr lang="en-US" sz="2000" dirty="0"/>
              <a:t>International Government Affairs</a:t>
            </a:r>
          </a:p>
        </p:txBody>
      </p:sp>
    </p:spTree>
    <p:extLst>
      <p:ext uri="{BB962C8B-B14F-4D97-AF65-F5344CB8AC3E}">
        <p14:creationId xmlns:p14="http://schemas.microsoft.com/office/powerpoint/2010/main" val="32563454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DD1422-294B-4BB7-6A63-D1FC6754B4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7ADB33B-8413-B02B-03A1-23C0DB0151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956" y="284432"/>
            <a:ext cx="11614201" cy="687003"/>
          </a:xfrm>
        </p:spPr>
        <p:txBody>
          <a:bodyPr anchor="ctr">
            <a:noAutofit/>
          </a:bodyPr>
          <a:lstStyle/>
          <a:p>
            <a:r>
              <a:rPr lang="en-US" sz="3200" dirty="0"/>
              <a:t>American Airlines and the Caribbean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FF257042-D213-6272-74D8-4FD9F13A1FF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256" y="971435"/>
            <a:ext cx="9739424" cy="5500581"/>
          </a:xfrm>
        </p:spPr>
        <p:txBody>
          <a:bodyPr>
            <a:normAutofit fontScale="77500" lnSpcReduction="20000"/>
          </a:bodyPr>
          <a:lstStyle/>
          <a:p>
            <a:r>
              <a:rPr lang="en-US" sz="3100" dirty="0">
                <a:latin typeface="AmericanSans" panose="02000000000000000000" pitchFamily="50" charset="0"/>
              </a:rPr>
              <a:t>American is proud to be the largest carrier between the United States and Caribbean in flights, seats, and destinations</a:t>
            </a:r>
          </a:p>
          <a:p>
            <a:endParaRPr lang="en-US" sz="3100" dirty="0">
              <a:latin typeface="AmericanSans" panose="02000000000000000000" pitchFamily="50" charset="0"/>
            </a:endParaRPr>
          </a:p>
          <a:p>
            <a:r>
              <a:rPr lang="en-US" sz="3100" dirty="0">
                <a:latin typeface="AmericanSans" panose="02000000000000000000" pitchFamily="50" charset="0"/>
              </a:rPr>
              <a:t>Only U.S. carrier serving all six ECCAA full member states</a:t>
            </a:r>
          </a:p>
          <a:p>
            <a:endParaRPr lang="en-US" sz="3100" dirty="0">
              <a:latin typeface="AmericanSans" panose="02000000000000000000" pitchFamily="50" charset="0"/>
            </a:endParaRPr>
          </a:p>
          <a:p>
            <a:r>
              <a:rPr lang="en-US" sz="3100" dirty="0">
                <a:latin typeface="AmericanSans" panose="02000000000000000000" pitchFamily="50" charset="0"/>
              </a:rPr>
              <a:t>In 2025, American will operate 650 more departures to the Caribbean year-over-year</a:t>
            </a:r>
          </a:p>
          <a:p>
            <a:endParaRPr lang="en-US" sz="3100" dirty="0">
              <a:latin typeface="AmericanSans" panose="02000000000000000000" pitchFamily="50" charset="0"/>
            </a:endParaRPr>
          </a:p>
          <a:p>
            <a:r>
              <a:rPr lang="en-US" sz="3100" dirty="0">
                <a:latin typeface="AmericanSans" panose="02000000000000000000" pitchFamily="50" charset="0"/>
              </a:rPr>
              <a:t>Miami and Charlotte hubs – geography, O&amp;D, and connections to American Airlines and </a:t>
            </a:r>
            <a:r>
              <a:rPr lang="en-US" sz="3100" b="1" dirty="0" err="1">
                <a:latin typeface="AmericanSans" panose="02000000000000000000" pitchFamily="50" charset="0"/>
              </a:rPr>
              <a:t>one</a:t>
            </a:r>
            <a:r>
              <a:rPr lang="en-US" sz="3100" dirty="0" err="1">
                <a:latin typeface="AmericanSans" panose="02000000000000000000" pitchFamily="50" charset="0"/>
              </a:rPr>
              <a:t>world</a:t>
            </a:r>
            <a:r>
              <a:rPr lang="en-US" sz="3100" dirty="0">
                <a:latin typeface="AmericanSans" panose="02000000000000000000" pitchFamily="50" charset="0"/>
              </a:rPr>
              <a:t> networks</a:t>
            </a:r>
          </a:p>
          <a:p>
            <a:endParaRPr lang="en-US" sz="3100" dirty="0">
              <a:latin typeface="AmericanSans" panose="02000000000000000000" pitchFamily="50" charset="0"/>
            </a:endParaRPr>
          </a:p>
          <a:p>
            <a:r>
              <a:rPr lang="en-US" sz="3100" dirty="0">
                <a:latin typeface="AmericanSans" panose="02000000000000000000" pitchFamily="50" charset="0"/>
              </a:rPr>
              <a:t>Recent expansion and new service to the Caribbean 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2200" dirty="0">
                <a:latin typeface="AmericanSans" panose="02000000000000000000" pitchFamily="50" charset="0"/>
              </a:rPr>
              <a:t>Beef Island/Tortola, British Virgin Islands 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2200" dirty="0">
                <a:latin typeface="AmericanSans" panose="02000000000000000000" pitchFamily="50" charset="0"/>
              </a:rPr>
              <a:t>Governor’s </a:t>
            </a:r>
            <a:r>
              <a:rPr lang="en-US" sz="2200" dirty="0" err="1">
                <a:latin typeface="AmericanSans" panose="02000000000000000000" pitchFamily="50" charset="0"/>
              </a:rPr>
              <a:t>Harbour</a:t>
            </a:r>
            <a:r>
              <a:rPr lang="en-US" sz="2200" dirty="0">
                <a:latin typeface="AmericanSans" panose="02000000000000000000" pitchFamily="50" charset="0"/>
              </a:rPr>
              <a:t>, Bahamas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2200" dirty="0">
                <a:latin typeface="AmericanSans" panose="02000000000000000000" pitchFamily="50" charset="0"/>
              </a:rPr>
              <a:t>Ocho Rios, Jamaica 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2200" dirty="0">
                <a:latin typeface="AmericanSans" panose="02000000000000000000" pitchFamily="50" charset="0"/>
              </a:rPr>
              <a:t>South Bimini, Bahamas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2200" dirty="0">
                <a:latin typeface="AmericanSans" panose="02000000000000000000" pitchFamily="50" charset="0"/>
              </a:rPr>
              <a:t>South Caicos, Turks &amp; Caicos Islands </a:t>
            </a:r>
          </a:p>
          <a:p>
            <a:pPr lvl="1"/>
            <a:endParaRPr lang="en-US" sz="2500" dirty="0">
              <a:latin typeface="AmericanSans" panose="02000000000000000000" pitchFamily="50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AB9333A-B1B7-6DE1-1190-68FB05AA94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8718" y="4199628"/>
            <a:ext cx="3892438" cy="2191108"/>
          </a:xfrm>
          <a:prstGeom prst="rect">
            <a:avLst/>
          </a:prstGeom>
          <a:noFill/>
          <a:effectLst>
            <a:glow rad="139700">
              <a:schemeClr val="accent2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3697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58D2574-8646-122F-B3BC-949FA2D44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956" y="412028"/>
            <a:ext cx="11614201" cy="687003"/>
          </a:xfrm>
        </p:spPr>
        <p:txBody>
          <a:bodyPr anchor="ctr">
            <a:noAutofit/>
          </a:bodyPr>
          <a:lstStyle/>
          <a:p>
            <a:r>
              <a:rPr lang="en-US" sz="3200" dirty="0"/>
              <a:t>Recent Developments, Challenges, and Changes in U.S. Policy </a:t>
            </a:r>
            <a:r>
              <a:rPr lang="en-US" sz="3200"/>
              <a:t>and Int’l Aviation </a:t>
            </a:r>
            <a:endParaRPr lang="en-US" sz="32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D8E234C-377C-FF8B-7021-83E63FE39F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956" y="1498284"/>
            <a:ext cx="5815537" cy="4947688"/>
          </a:xfrm>
        </p:spPr>
        <p:txBody>
          <a:bodyPr>
            <a:normAutofit lnSpcReduction="10000"/>
          </a:bodyPr>
          <a:lstStyle/>
          <a:p>
            <a:r>
              <a:rPr lang="en-US" sz="2800" dirty="0">
                <a:latin typeface="AmericanSans" panose="02000000000000000000" pitchFamily="50" charset="0"/>
              </a:rPr>
              <a:t>Open Skies Agreements </a:t>
            </a:r>
          </a:p>
          <a:p>
            <a:endParaRPr lang="en-US" sz="2800" dirty="0">
              <a:latin typeface="AmericanSans" panose="02000000000000000000" pitchFamily="50" charset="0"/>
            </a:endParaRPr>
          </a:p>
          <a:p>
            <a:r>
              <a:rPr lang="en-US" sz="2800" dirty="0">
                <a:latin typeface="AmericanSans" panose="02000000000000000000" pitchFamily="50" charset="0"/>
              </a:rPr>
              <a:t>Tariffs and Trade</a:t>
            </a:r>
          </a:p>
          <a:p>
            <a:pPr marL="0" indent="0">
              <a:buNone/>
            </a:pPr>
            <a:endParaRPr lang="en-US" sz="2800" dirty="0">
              <a:latin typeface="AmericanSans" panose="02000000000000000000" pitchFamily="50" charset="0"/>
            </a:endParaRPr>
          </a:p>
          <a:p>
            <a:r>
              <a:rPr lang="en-US" sz="2800" dirty="0">
                <a:latin typeface="AmericanSans" panose="02000000000000000000" pitchFamily="50" charset="0"/>
              </a:rPr>
              <a:t>ATC Modernization </a:t>
            </a:r>
          </a:p>
          <a:p>
            <a:endParaRPr lang="en-US" sz="2800" dirty="0">
              <a:latin typeface="AmericanSans" panose="02000000000000000000" pitchFamily="50" charset="0"/>
            </a:endParaRPr>
          </a:p>
          <a:p>
            <a:r>
              <a:rPr lang="en-US" sz="2800" dirty="0">
                <a:latin typeface="AmericanSans" panose="02000000000000000000" pitchFamily="50" charset="0"/>
              </a:rPr>
              <a:t>Geopolitical Uncertainty and Atmosphere </a:t>
            </a:r>
          </a:p>
          <a:p>
            <a:endParaRPr lang="en-US" sz="2800" dirty="0">
              <a:latin typeface="AmericanSans" panose="02000000000000000000" pitchFamily="50" charset="0"/>
            </a:endParaRPr>
          </a:p>
          <a:p>
            <a:r>
              <a:rPr lang="en-US" sz="2800" dirty="0">
                <a:latin typeface="AmericanSans" panose="02000000000000000000" pitchFamily="50" charset="0"/>
              </a:rPr>
              <a:t>U.S. Government Shutdown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EE6AECF1-4B80-9FE9-1641-7232DFE5F1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6560" y="1391290"/>
            <a:ext cx="6099173" cy="4574380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2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03547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EC7717A-CDAD-233D-2F7F-5625B600290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04D610-A96B-1033-3D3D-F82F8686A6B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99545095-724A-1324-C9CF-0AB4B6F7B2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7006" y="308327"/>
            <a:ext cx="11614201" cy="687003"/>
          </a:xfrm>
        </p:spPr>
        <p:txBody>
          <a:bodyPr anchor="ctr"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U.S. Int’l Aviation Policy, what has changed?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34B1BCD-B122-A7F0-76EB-3AF57B7186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326" y="3807590"/>
            <a:ext cx="6049117" cy="894897"/>
          </a:xfrm>
          <a:prstGeom prst="rect">
            <a:avLst/>
          </a:prstGeom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B846DFD-41B1-DDB1-AF4D-C6EABE03F4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153" y="5055316"/>
            <a:ext cx="5225847" cy="768370"/>
          </a:xfrm>
          <a:prstGeom prst="rect">
            <a:avLst/>
          </a:prstGeom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95B75D4-7C90-323D-F1FD-FEC8980352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88767" y="3163503"/>
            <a:ext cx="4953909" cy="175524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9323D90-53CC-981E-E1CE-0F37B60BCB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2087" y="1065832"/>
            <a:ext cx="6305296" cy="1089682"/>
          </a:xfrm>
          <a:prstGeom prst="rect">
            <a:avLst/>
          </a:prstGeom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975EEDC-CA73-ED52-6524-85B211EAB8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34562" y="2109328"/>
            <a:ext cx="6305296" cy="880210"/>
          </a:xfrm>
          <a:prstGeom prst="rect">
            <a:avLst/>
          </a:prstGeom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63D9BF6-CA55-FABE-C6EF-CB0E37B64A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6302" y="2809743"/>
            <a:ext cx="5063314" cy="789297"/>
          </a:xfrm>
          <a:prstGeom prst="rect">
            <a:avLst/>
          </a:prstGeom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81B9FA0-AB64-8B1E-FC5C-35B6DFE82EA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04724" y="4986747"/>
            <a:ext cx="4521994" cy="659941"/>
          </a:xfrm>
          <a:prstGeom prst="rect">
            <a:avLst/>
          </a:prstGeom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6705B5B-D242-B48F-67D0-A6729901FEA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88468" y="5746753"/>
            <a:ext cx="6159059" cy="858441"/>
          </a:xfrm>
          <a:prstGeom prst="rect">
            <a:avLst/>
          </a:prstGeom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7236064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C3C6D2D-791B-5E1E-1DD3-337A0A8035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8328" y="240256"/>
            <a:ext cx="11304217" cy="687003"/>
          </a:xfrm>
        </p:spPr>
        <p:txBody>
          <a:bodyPr anchor="ctr">
            <a:normAutofit/>
          </a:bodyPr>
          <a:lstStyle/>
          <a:p>
            <a:r>
              <a:rPr lang="en-US" sz="3200" dirty="0"/>
              <a:t>Meanwhile, back in the United States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C32CE6-9A68-7585-1E26-8B965EADC6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328" y="1955054"/>
            <a:ext cx="4883726" cy="777814"/>
          </a:xfrm>
          <a:prstGeom prst="rect">
            <a:avLst/>
          </a:prstGeom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452B56B-3D8B-79D9-71FF-C882D2245E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644" y="3054999"/>
            <a:ext cx="6788499" cy="1047804"/>
          </a:xfrm>
          <a:prstGeom prst="rect">
            <a:avLst/>
          </a:prstGeom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A18ABEC-937D-1CFC-D6C1-8F98D308C3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611" y="4475107"/>
            <a:ext cx="5259363" cy="1810424"/>
          </a:xfrm>
          <a:prstGeom prst="rect">
            <a:avLst/>
          </a:prstGeom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C2CE84D-7D6F-5466-00B3-D672F6C81C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50218" y="3629811"/>
            <a:ext cx="6099138" cy="1284677"/>
          </a:xfrm>
          <a:prstGeom prst="rect">
            <a:avLst/>
          </a:prstGeom>
          <a:noFill/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2E7616B-1DE2-9FC9-EE1A-8F4AF95741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3182" y="5162059"/>
            <a:ext cx="5459910" cy="1322864"/>
          </a:xfrm>
          <a:prstGeom prst="rect">
            <a:avLst/>
          </a:prstGeom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8B0369B-0590-21AB-0840-8E4C22A5A6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8004" y="1034509"/>
            <a:ext cx="5439258" cy="687003"/>
          </a:xfrm>
          <a:prstGeom prst="rect">
            <a:avLst/>
          </a:prstGeom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C52DF7B-506D-BF44-A36B-418A2C8F6B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88000" y="2038414"/>
            <a:ext cx="6348239" cy="823298"/>
          </a:xfrm>
          <a:prstGeom prst="rect">
            <a:avLst/>
          </a:prstGeom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4E2F8D-2667-EE1A-AC7A-0C1CDB168B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90436" y="1034509"/>
            <a:ext cx="6099138" cy="719075"/>
          </a:xfrm>
          <a:prstGeom prst="rect">
            <a:avLst/>
          </a:prstGeom>
          <a:effectLst>
            <a:glow rad="101600">
              <a:schemeClr val="accent5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7868187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1479E3-EB0E-6076-311E-77ADDC01D5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D1608C-746D-6917-40B8-80D173B476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7709BB1-1659-EC94-A992-6231320D146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55481"/>
            <a:ext cx="1024128" cy="902519"/>
          </a:xfrm>
          <a:prstGeom prst="rect">
            <a:avLst/>
          </a:prstGeom>
        </p:spPr>
      </p:pic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05F9CF43-03D8-1267-5445-188ABE3849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7006" y="308327"/>
            <a:ext cx="11614201" cy="687003"/>
          </a:xfrm>
        </p:spPr>
        <p:txBody>
          <a:bodyPr anchor="ctr"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Policy is in motion…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C61E5FA-6C50-64B4-BE75-62C3382E65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506" y="1162162"/>
            <a:ext cx="5686973" cy="2098698"/>
          </a:xfrm>
          <a:prstGeom prst="rect">
            <a:avLst/>
          </a:prstGeom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2FF8D03-1FBD-C91C-3FCF-69AB83B6A9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512" y="3689951"/>
            <a:ext cx="4297810" cy="2406774"/>
          </a:xfrm>
          <a:prstGeom prst="rect">
            <a:avLst/>
          </a:prstGeom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3A3D1B1-B809-0DEC-5929-AF02521460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76677" y="1192006"/>
            <a:ext cx="4858125" cy="1678620"/>
          </a:xfrm>
          <a:prstGeom prst="rect">
            <a:avLst/>
          </a:prstGeom>
          <a:effectLst>
            <a:glow rad="139700">
              <a:schemeClr val="accent2">
                <a:satMod val="175000"/>
                <a:alpha val="40000"/>
              </a:schemeClr>
            </a:glo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1C14FF4-54AC-4535-E382-87D878FC2D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57520" y="3050973"/>
            <a:ext cx="5977282" cy="3355768"/>
          </a:xfrm>
          <a:prstGeom prst="rect">
            <a:avLst/>
          </a:prstGeom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8922611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D5AD34BB-B865-20E7-0090-C9DE35B576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7850" y="266700"/>
            <a:ext cx="11093450" cy="687388"/>
          </a:xfrm>
        </p:spPr>
        <p:txBody>
          <a:bodyPr anchor="ctr">
            <a:normAutofit/>
          </a:bodyPr>
          <a:lstStyle/>
          <a:p>
            <a:r>
              <a:rPr lang="en-US" sz="3200" dirty="0"/>
              <a:t>What is happening with U.S. Consumers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6401B8-F003-E20F-9359-98026B798C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850" y="5620997"/>
            <a:ext cx="6701312" cy="8444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1D6FFC5-0E03-2920-F153-D9936EED98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379" y="2019758"/>
            <a:ext cx="5219700" cy="319115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5B0454F-FAE7-D8BE-4D35-A936E89184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13861" y="5620997"/>
            <a:ext cx="3097139" cy="10092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F706D1-568C-CE27-CFB7-4895E00F02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97652" y="1798241"/>
            <a:ext cx="4829849" cy="263879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79EA4E7-D0F1-E3DC-9444-0C019CE2CA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78289" y="4478391"/>
            <a:ext cx="5268060" cy="114316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19F417E-6121-3C51-E12D-365E61E725E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8534" y="1036665"/>
            <a:ext cx="5564025" cy="79071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8A2D672-5207-15FC-8C4B-4C785CBF01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36944" y="875944"/>
            <a:ext cx="5876622" cy="881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8162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CAC69FC-3196-31EC-697C-F61404E90C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40756551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ustom 2">
      <a:dk1>
        <a:srgbClr val="3A4D66"/>
      </a:dk1>
      <a:lt1>
        <a:srgbClr val="FFFFFF"/>
      </a:lt1>
      <a:dk2>
        <a:srgbClr val="00457F"/>
      </a:dk2>
      <a:lt2>
        <a:srgbClr val="E6ECEF"/>
      </a:lt2>
      <a:accent1>
        <a:srgbClr val="0078D1"/>
      </a:accent1>
      <a:accent2>
        <a:srgbClr val="00457F"/>
      </a:accent2>
      <a:accent3>
        <a:srgbClr val="9DA6AA"/>
      </a:accent3>
      <a:accent4>
        <a:srgbClr val="415763"/>
      </a:accent4>
      <a:accent5>
        <a:srgbClr val="C20018"/>
      </a:accent5>
      <a:accent6>
        <a:srgbClr val="0061AB"/>
      </a:accent6>
      <a:hlink>
        <a:srgbClr val="0078D1"/>
      </a:hlink>
      <a:folHlink>
        <a:srgbClr val="F4F7F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 smtClean="0">
            <a:latin typeface="AmericanSans" panose="02000000000000000000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A_Powerpoint_Template_Master" id="{18E8E029-CDE1-8E41-92E9-940A3B008E2E}" vid="{F906A941-AF60-9541-A64E-F23758310AC1}"/>
    </a:ext>
  </a:extLst>
</a:theme>
</file>

<file path=ppt/theme/theme2.xml><?xml version="1.0" encoding="utf-8"?>
<a:theme xmlns:a="http://schemas.openxmlformats.org/drawingml/2006/main" name="1_Custom Design">
  <a:themeElements>
    <a:clrScheme name="Custom 2">
      <a:dk1>
        <a:srgbClr val="3A4D66"/>
      </a:dk1>
      <a:lt1>
        <a:srgbClr val="FFFFFF"/>
      </a:lt1>
      <a:dk2>
        <a:srgbClr val="00457F"/>
      </a:dk2>
      <a:lt2>
        <a:srgbClr val="E6ECEF"/>
      </a:lt2>
      <a:accent1>
        <a:srgbClr val="0078D1"/>
      </a:accent1>
      <a:accent2>
        <a:srgbClr val="00457F"/>
      </a:accent2>
      <a:accent3>
        <a:srgbClr val="9DA6AA"/>
      </a:accent3>
      <a:accent4>
        <a:srgbClr val="415763"/>
      </a:accent4>
      <a:accent5>
        <a:srgbClr val="C20018"/>
      </a:accent5>
      <a:accent6>
        <a:srgbClr val="0061AB"/>
      </a:accent6>
      <a:hlink>
        <a:srgbClr val="0078D1"/>
      </a:hlink>
      <a:folHlink>
        <a:srgbClr val="F4F7F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 smtClean="0">
            <a:latin typeface="AmericanSans" panose="02000000000000000000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A_Powerpoint_Template_Master" id="{18E8E029-CDE1-8E41-92E9-940A3B008E2E}" vid="{F906A941-AF60-9541-A64E-F23758310AC1}"/>
    </a:ext>
  </a:extLst>
</a:theme>
</file>

<file path=ppt/theme/theme3.xml><?xml version="1.0" encoding="utf-8"?>
<a:theme xmlns:a="http://schemas.openxmlformats.org/drawingml/2006/main" name="Custom Design">
  <a:themeElements>
    <a:clrScheme name="Custom 2">
      <a:dk1>
        <a:srgbClr val="3A4D66"/>
      </a:dk1>
      <a:lt1>
        <a:srgbClr val="FFFFFF"/>
      </a:lt1>
      <a:dk2>
        <a:srgbClr val="00457F"/>
      </a:dk2>
      <a:lt2>
        <a:srgbClr val="E6ECEF"/>
      </a:lt2>
      <a:accent1>
        <a:srgbClr val="0078D1"/>
      </a:accent1>
      <a:accent2>
        <a:srgbClr val="00457F"/>
      </a:accent2>
      <a:accent3>
        <a:srgbClr val="9DA6AA"/>
      </a:accent3>
      <a:accent4>
        <a:srgbClr val="415763"/>
      </a:accent4>
      <a:accent5>
        <a:srgbClr val="C20018"/>
      </a:accent5>
      <a:accent6>
        <a:srgbClr val="0061AB"/>
      </a:accent6>
      <a:hlink>
        <a:srgbClr val="0078D1"/>
      </a:hlink>
      <a:folHlink>
        <a:srgbClr val="F4F7F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smtClean="0">
            <a:latin typeface="AmericanSans" panose="02000000000000000000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A_Powerpoint_Template_Master" id="{18E8E029-CDE1-8E41-92E9-940A3B008E2E}" vid="{F906A941-AF60-9541-A64E-F23758310AC1}"/>
    </a:ext>
  </a:extLst>
</a:theme>
</file>

<file path=ppt/theme/theme4.xml><?xml version="1.0" encoding="utf-8"?>
<a:theme xmlns:a="http://schemas.openxmlformats.org/drawingml/2006/main" name="2_Custom Design">
  <a:themeElements>
    <a:clrScheme name="Custom 2">
      <a:dk1>
        <a:srgbClr val="3A4D66"/>
      </a:dk1>
      <a:lt1>
        <a:srgbClr val="FFFFFF"/>
      </a:lt1>
      <a:dk2>
        <a:srgbClr val="00457F"/>
      </a:dk2>
      <a:lt2>
        <a:srgbClr val="E6ECEF"/>
      </a:lt2>
      <a:accent1>
        <a:srgbClr val="0078D1"/>
      </a:accent1>
      <a:accent2>
        <a:srgbClr val="00457F"/>
      </a:accent2>
      <a:accent3>
        <a:srgbClr val="9DA6AA"/>
      </a:accent3>
      <a:accent4>
        <a:srgbClr val="415763"/>
      </a:accent4>
      <a:accent5>
        <a:srgbClr val="C20018"/>
      </a:accent5>
      <a:accent6>
        <a:srgbClr val="0061AB"/>
      </a:accent6>
      <a:hlink>
        <a:srgbClr val="0078D1"/>
      </a:hlink>
      <a:folHlink>
        <a:srgbClr val="F4F7F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 w="6350"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  <a:latin typeface="AmericanSans" panose="02000000000000000000" pitchFamily="50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smtClean="0">
            <a:latin typeface="AmericanSans" panose="02000000000000000000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A_Powerpoint_Template_Master" id="{18E8E029-CDE1-8E41-92E9-940A3B008E2E}" vid="{F906A941-AF60-9541-A64E-F23758310AC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515B1005CA5140BD574D37EE5BC438" ma:contentTypeVersion="17" ma:contentTypeDescription="Create a new document." ma:contentTypeScope="" ma:versionID="4f22b02b072370b20ff4336b54c73f73">
  <xsd:schema xmlns:xsd="http://www.w3.org/2001/XMLSchema" xmlns:xs="http://www.w3.org/2001/XMLSchema" xmlns:p="http://schemas.microsoft.com/office/2006/metadata/properties" xmlns:ns3="4d0db74e-e1b3-49a6-9f96-2d0d1f9f52ec" xmlns:ns4="a53d0814-6219-4ceb-941c-c8e67e90d9d9" targetNamespace="http://schemas.microsoft.com/office/2006/metadata/properties" ma:root="true" ma:fieldsID="9f1e2a86e3b6e8e574798d1eb442e160" ns3:_="" ns4:_="">
    <xsd:import namespace="4d0db74e-e1b3-49a6-9f96-2d0d1f9f52ec"/>
    <xsd:import namespace="a53d0814-6219-4ceb-941c-c8e67e90d9d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  <xsd:element ref="ns4:_activity" minOccurs="0"/>
                <xsd:element ref="ns4:MediaServiceObjectDetectorVersions" minOccurs="0"/>
                <xsd:element ref="ns4:MediaServiceSearchProperties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0db74e-e1b3-49a6-9f96-2d0d1f9f52e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3d0814-6219-4ceb-941c-c8e67e90d9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a53d0814-6219-4ceb-941c-c8e67e90d9d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FD01104-8BC0-4424-82F6-BD1C113F712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d0db74e-e1b3-49a6-9f96-2d0d1f9f52ec"/>
    <ds:schemaRef ds:uri="a53d0814-6219-4ceb-941c-c8e67e90d9d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6B31943-3A46-45AD-9A03-2AC94A1CD9C5}">
  <ds:schemaRefs>
    <ds:schemaRef ds:uri="4d0db74e-e1b3-49a6-9f96-2d0d1f9f52ec"/>
    <ds:schemaRef ds:uri="http://purl.org/dc/terms/"/>
    <ds:schemaRef ds:uri="http://purl.org/dc/dcmitype/"/>
    <ds:schemaRef ds:uri="http://schemas.microsoft.com/office/2006/metadata/properties"/>
    <ds:schemaRef ds:uri="http://purl.org/dc/elements/1.1/"/>
    <ds:schemaRef ds:uri="a53d0814-6219-4ceb-941c-c8e67e90d9d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161873A-E8D4-408D-8C99-966D1578558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49793faf-eb3f-4d99-a0cf-aef7cce79dc1}" enabled="0" method="" siteId="{49793faf-eb3f-4d99-a0cf-aef7cce79dc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8396</TotalTime>
  <Words>193</Words>
  <Application>Microsoft Office PowerPoint</Application>
  <PresentationFormat>Widescreen</PresentationFormat>
  <Paragraphs>34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mericanSans</vt:lpstr>
      <vt:lpstr>Arial</vt:lpstr>
      <vt:lpstr>Calibri</vt:lpstr>
      <vt:lpstr>Wingdings</vt:lpstr>
      <vt:lpstr>Custom Design</vt:lpstr>
      <vt:lpstr>1_Custom Design</vt:lpstr>
      <vt:lpstr>Custom Design</vt:lpstr>
      <vt:lpstr>2_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</dc:creator>
  <cp:lastModifiedBy>Almond, Ronce</cp:lastModifiedBy>
  <cp:revision>22</cp:revision>
  <cp:lastPrinted>2024-03-13T20:38:27Z</cp:lastPrinted>
  <dcterms:created xsi:type="dcterms:W3CDTF">2020-11-20T16:03:27Z</dcterms:created>
  <dcterms:modified xsi:type="dcterms:W3CDTF">2025-11-13T11:21:50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515B1005CA5140BD574D37EE5BC438</vt:lpwstr>
  </property>
</Properties>
</file>